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14"/>
  </p:notesMasterIdLst>
  <p:handoutMasterIdLst>
    <p:handoutMasterId r:id="rId15"/>
  </p:handoutMasterIdLst>
  <p:sldIdLst>
    <p:sldId id="256" r:id="rId8"/>
    <p:sldId id="257" r:id="rId9"/>
    <p:sldId id="260" r:id="rId10"/>
    <p:sldId id="258" r:id="rId11"/>
    <p:sldId id="259" r:id="rId12"/>
    <p:sldId id="26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 id="2" name="Pashikanti, Rohan" initials="PR" lastIdx="1" clrIdx="1">
    <p:extLst>
      <p:ext uri="{19B8F6BF-5375-455C-9EA6-DF929625EA0E}">
        <p15:presenceInfo xmlns:p15="http://schemas.microsoft.com/office/powerpoint/2012/main" userId="S::rohan.pashikanti@sogeti.com::d9b26f8f-27e3-4335-a6ca-4584cbc52f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12A2C0-49B6-DABF-78E3-266C4E0C9FF7}" v="9" dt="2021-10-22T12:25:06.512"/>
    <p1510:client id="{3B32E777-196D-4F52-B92E-11C9C36EF290}" v="247" dt="2021-10-22T12:28:03.430"/>
    <p1510:client id="{58B763AF-095B-05E9-323B-AA4103C283EC}" v="4" dt="2021-10-22T08:54:48.376"/>
    <p1510:client id="{7CC59683-0CD4-47F3-82FD-7D42D9FBA92F}" v="3" dt="2021-10-22T12:19:48.332"/>
    <p1510:client id="{BE573108-E003-4251-9A98-8CDDCBE12F1B}" vWet="2" dt="2021-10-22T12:05:20.752"/>
    <p1510:client id="{CB287DB1-341B-40DE-AB56-73E6524F6E5D}" v="437" dt="2021-10-22T12:44:02.4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dari, Sai Kiran Reddy" userId="S::sai.kiran.reddy.kadari@capgemini.com::e64c9a89-c5fc-4a9c-904a-55ed47e10d68" providerId="AD" clId="Web-{1612A2C0-49B6-DABF-78E3-266C4E0C9FF7}"/>
    <pc:docChg chg="modSld">
      <pc:chgData name="Kadari, Sai Kiran Reddy" userId="S::sai.kiran.reddy.kadari@capgemini.com::e64c9a89-c5fc-4a9c-904a-55ed47e10d68" providerId="AD" clId="Web-{1612A2C0-49B6-DABF-78E3-266C4E0C9FF7}" dt="2021-10-22T12:25:06.512" v="7" actId="20577"/>
      <pc:docMkLst>
        <pc:docMk/>
      </pc:docMkLst>
      <pc:sldChg chg="modSp">
        <pc:chgData name="Kadari, Sai Kiran Reddy" userId="S::sai.kiran.reddy.kadari@capgemini.com::e64c9a89-c5fc-4a9c-904a-55ed47e10d68" providerId="AD" clId="Web-{1612A2C0-49B6-DABF-78E3-266C4E0C9FF7}" dt="2021-10-22T12:25:06.512" v="7" actId="20577"/>
        <pc:sldMkLst>
          <pc:docMk/>
          <pc:sldMk cId="2905405902" sldId="258"/>
        </pc:sldMkLst>
        <pc:spChg chg="mod">
          <ac:chgData name="Kadari, Sai Kiran Reddy" userId="S::sai.kiran.reddy.kadari@capgemini.com::e64c9a89-c5fc-4a9c-904a-55ed47e10d68" providerId="AD" clId="Web-{1612A2C0-49B6-DABF-78E3-266C4E0C9FF7}" dt="2021-10-22T12:25:06.512" v="7" actId="20577"/>
          <ac:spMkLst>
            <pc:docMk/>
            <pc:sldMk cId="2905405902" sldId="258"/>
            <ac:spMk id="5" creationId="{D819D41F-9E65-49DA-AB2D-3C299C81306F}"/>
          </ac:spMkLst>
        </pc:spChg>
      </pc:sldChg>
    </pc:docChg>
  </pc:docChgLst>
  <pc:docChgLst>
    <pc:chgData name="Pashikanti, Rohan" userId="S::rohan.pashikanti@sogeti.com::d9b26f8f-27e3-4335-a6ca-4584cbc52f6a" providerId="AD" clId="Web-{58B763AF-095B-05E9-323B-AA4103C283EC}"/>
    <pc:docChg chg="delSld modSection">
      <pc:chgData name="Pashikanti, Rohan" userId="S::rohan.pashikanti@sogeti.com::d9b26f8f-27e3-4335-a6ca-4584cbc52f6a" providerId="AD" clId="Web-{58B763AF-095B-05E9-323B-AA4103C283EC}" dt="2021-10-22T08:54:48.376" v="3"/>
      <pc:docMkLst>
        <pc:docMk/>
      </pc:docMkLst>
      <pc:sldChg chg="del">
        <pc:chgData name="Pashikanti, Rohan" userId="S::rohan.pashikanti@sogeti.com::d9b26f8f-27e3-4335-a6ca-4584cbc52f6a" providerId="AD" clId="Web-{58B763AF-095B-05E9-323B-AA4103C283EC}" dt="2021-10-22T08:54:46.079" v="1"/>
        <pc:sldMkLst>
          <pc:docMk/>
          <pc:sldMk cId="1018828322" sldId="600"/>
        </pc:sldMkLst>
      </pc:sldChg>
      <pc:sldChg chg="del">
        <pc:chgData name="Pashikanti, Rohan" userId="S::rohan.pashikanti@sogeti.com::d9b26f8f-27e3-4335-a6ca-4584cbc52f6a" providerId="AD" clId="Web-{58B763AF-095B-05E9-323B-AA4103C283EC}" dt="2021-10-22T08:54:40.235" v="0"/>
        <pc:sldMkLst>
          <pc:docMk/>
          <pc:sldMk cId="4227977419" sldId="604"/>
        </pc:sldMkLst>
      </pc:sldChg>
      <pc:sldChg chg="del">
        <pc:chgData name="Pashikanti, Rohan" userId="S::rohan.pashikanti@sogeti.com::d9b26f8f-27e3-4335-a6ca-4584cbc52f6a" providerId="AD" clId="Web-{58B763AF-095B-05E9-323B-AA4103C283EC}" dt="2021-10-22T08:54:47.376" v="2"/>
        <pc:sldMkLst>
          <pc:docMk/>
          <pc:sldMk cId="2548862354" sldId="606"/>
        </pc:sldMkLst>
      </pc:sldChg>
      <pc:sldChg chg="del">
        <pc:chgData name="Pashikanti, Rohan" userId="S::rohan.pashikanti@sogeti.com::d9b26f8f-27e3-4335-a6ca-4584cbc52f6a" providerId="AD" clId="Web-{58B763AF-095B-05E9-323B-AA4103C283EC}" dt="2021-10-22T08:54:48.376" v="3"/>
        <pc:sldMkLst>
          <pc:docMk/>
          <pc:sldMk cId="340409438" sldId="609"/>
        </pc:sldMkLst>
      </pc:sldChg>
    </pc:docChg>
  </pc:docChgLst>
  <pc:docChgLst>
    <pc:chgData name="Bansal, Ishita Rai" userId="S::ishita.rai.bansal@sogeti.com::bc970935-bd46-4a06-a972-3aef8d42f35e" providerId="AD" clId="Web-{7CC59683-0CD4-47F3-82FD-7D42D9FBA92F}"/>
    <pc:docChg chg="modSld">
      <pc:chgData name="Bansal, Ishita Rai" userId="S::ishita.rai.bansal@sogeti.com::bc970935-bd46-4a06-a972-3aef8d42f35e" providerId="AD" clId="Web-{7CC59683-0CD4-47F3-82FD-7D42D9FBA92F}" dt="2021-10-22T12:19:47.082" v="1" actId="20577"/>
      <pc:docMkLst>
        <pc:docMk/>
      </pc:docMkLst>
      <pc:sldChg chg="modSp">
        <pc:chgData name="Bansal, Ishita Rai" userId="S::ishita.rai.bansal@sogeti.com::bc970935-bd46-4a06-a972-3aef8d42f35e" providerId="AD" clId="Web-{7CC59683-0CD4-47F3-82FD-7D42D9FBA92F}" dt="2021-10-22T12:19:47.082" v="1" actId="20577"/>
        <pc:sldMkLst>
          <pc:docMk/>
          <pc:sldMk cId="2905405902" sldId="258"/>
        </pc:sldMkLst>
        <pc:spChg chg="mod">
          <ac:chgData name="Bansal, Ishita Rai" userId="S::ishita.rai.bansal@sogeti.com::bc970935-bd46-4a06-a972-3aef8d42f35e" providerId="AD" clId="Web-{7CC59683-0CD4-47F3-82FD-7D42D9FBA92F}" dt="2021-10-22T12:19:47.082" v="1" actId="20577"/>
          <ac:spMkLst>
            <pc:docMk/>
            <pc:sldMk cId="2905405902" sldId="258"/>
            <ac:spMk id="5" creationId="{D819D41F-9E65-49DA-AB2D-3C299C81306F}"/>
          </ac:spMkLst>
        </pc:spChg>
      </pc:sldChg>
    </pc:docChg>
  </pc:docChgLst>
  <pc:docChgLst>
    <pc:chgData name="Pashikanti, Rohan" userId="d9b26f8f-27e3-4335-a6ca-4584cbc52f6a" providerId="ADAL" clId="{3B32E777-196D-4F52-B92E-11C9C36EF290}"/>
    <pc:docChg chg="undo custSel addSld delSld modSld delSection modSection">
      <pc:chgData name="Pashikanti, Rohan" userId="d9b26f8f-27e3-4335-a6ca-4584cbc52f6a" providerId="ADAL" clId="{3B32E777-196D-4F52-B92E-11C9C36EF290}" dt="2021-10-22T12:28:03.430" v="2607" actId="20577"/>
      <pc:docMkLst>
        <pc:docMk/>
      </pc:docMkLst>
      <pc:sldChg chg="addSp delSp modSp new mod modClrScheme chgLayout">
        <pc:chgData name="Pashikanti, Rohan" userId="d9b26f8f-27e3-4335-a6ca-4584cbc52f6a" providerId="ADAL" clId="{3B32E777-196D-4F52-B92E-11C9C36EF290}" dt="2021-10-22T11:18:37.488" v="127" actId="20577"/>
        <pc:sldMkLst>
          <pc:docMk/>
          <pc:sldMk cId="886178698" sldId="256"/>
        </pc:sldMkLst>
        <pc:spChg chg="del mod ord">
          <ac:chgData name="Pashikanti, Rohan" userId="d9b26f8f-27e3-4335-a6ca-4584cbc52f6a" providerId="ADAL" clId="{3B32E777-196D-4F52-B92E-11C9C36EF290}" dt="2021-10-22T11:18:14.688" v="66" actId="700"/>
          <ac:spMkLst>
            <pc:docMk/>
            <pc:sldMk cId="886178698" sldId="256"/>
            <ac:spMk id="2" creationId="{4398612B-EF69-4FA3-8EE8-03BD3771FA67}"/>
          </ac:spMkLst>
        </pc:spChg>
        <pc:spChg chg="del mod ord">
          <ac:chgData name="Pashikanti, Rohan" userId="d9b26f8f-27e3-4335-a6ca-4584cbc52f6a" providerId="ADAL" clId="{3B32E777-196D-4F52-B92E-11C9C36EF290}" dt="2021-10-22T11:18:14.688" v="66" actId="700"/>
          <ac:spMkLst>
            <pc:docMk/>
            <pc:sldMk cId="886178698" sldId="256"/>
            <ac:spMk id="3" creationId="{EBFD9F41-1A87-41C8-B1E8-1457B4D57758}"/>
          </ac:spMkLst>
        </pc:spChg>
        <pc:spChg chg="add mod ord">
          <ac:chgData name="Pashikanti, Rohan" userId="d9b26f8f-27e3-4335-a6ca-4584cbc52f6a" providerId="ADAL" clId="{3B32E777-196D-4F52-B92E-11C9C36EF290}" dt="2021-10-22T11:18:19.404" v="82" actId="20577"/>
          <ac:spMkLst>
            <pc:docMk/>
            <pc:sldMk cId="886178698" sldId="256"/>
            <ac:spMk id="4" creationId="{FC4AB252-BB27-4C72-B133-B4BDE95E1013}"/>
          </ac:spMkLst>
        </pc:spChg>
        <pc:spChg chg="add mod ord">
          <ac:chgData name="Pashikanti, Rohan" userId="d9b26f8f-27e3-4335-a6ca-4584cbc52f6a" providerId="ADAL" clId="{3B32E777-196D-4F52-B92E-11C9C36EF290}" dt="2021-10-22T11:18:37.488" v="127" actId="20577"/>
          <ac:spMkLst>
            <pc:docMk/>
            <pc:sldMk cId="886178698" sldId="256"/>
            <ac:spMk id="5" creationId="{DE912E2B-BECF-4A79-965B-A4B93B15E98F}"/>
          </ac:spMkLst>
        </pc:spChg>
      </pc:sldChg>
      <pc:sldChg chg="addSp delSp modSp new mod modClrScheme addCm modCm chgLayout modNotesTx">
        <pc:chgData name="Pashikanti, Rohan" userId="d9b26f8f-27e3-4335-a6ca-4584cbc52f6a" providerId="ADAL" clId="{3B32E777-196D-4F52-B92E-11C9C36EF290}" dt="2021-10-22T12:01:52.862" v="2386" actId="20577"/>
        <pc:sldMkLst>
          <pc:docMk/>
          <pc:sldMk cId="2055189980" sldId="257"/>
        </pc:sldMkLst>
        <pc:spChg chg="del mod ord">
          <ac:chgData name="Pashikanti, Rohan" userId="d9b26f8f-27e3-4335-a6ca-4584cbc52f6a" providerId="ADAL" clId="{3B32E777-196D-4F52-B92E-11C9C36EF290}" dt="2021-10-22T11:18:57.887" v="131" actId="700"/>
          <ac:spMkLst>
            <pc:docMk/>
            <pc:sldMk cId="2055189980" sldId="257"/>
            <ac:spMk id="2" creationId="{8B209869-4B76-41A9-A2E6-43175BD70D6F}"/>
          </ac:spMkLst>
        </pc:spChg>
        <pc:spChg chg="del mod ord">
          <ac:chgData name="Pashikanti, Rohan" userId="d9b26f8f-27e3-4335-a6ca-4584cbc52f6a" providerId="ADAL" clId="{3B32E777-196D-4F52-B92E-11C9C36EF290}" dt="2021-10-22T11:18:57.887" v="131" actId="700"/>
          <ac:spMkLst>
            <pc:docMk/>
            <pc:sldMk cId="2055189980" sldId="257"/>
            <ac:spMk id="3" creationId="{AD76D17E-03A7-4B31-AABE-3253AA561D1A}"/>
          </ac:spMkLst>
        </pc:spChg>
        <pc:spChg chg="add mod ord">
          <ac:chgData name="Pashikanti, Rohan" userId="d9b26f8f-27e3-4335-a6ca-4584cbc52f6a" providerId="ADAL" clId="{3B32E777-196D-4F52-B92E-11C9C36EF290}" dt="2021-10-22T11:19:16.880" v="169" actId="20577"/>
          <ac:spMkLst>
            <pc:docMk/>
            <pc:sldMk cId="2055189980" sldId="257"/>
            <ac:spMk id="4" creationId="{C428977B-E2E1-41A1-84C3-1C3F428586B5}"/>
          </ac:spMkLst>
        </pc:spChg>
        <pc:spChg chg="add mod ord">
          <ac:chgData name="Pashikanti, Rohan" userId="d9b26f8f-27e3-4335-a6ca-4584cbc52f6a" providerId="ADAL" clId="{3B32E777-196D-4F52-B92E-11C9C36EF290}" dt="2021-10-22T11:18:57.887" v="131" actId="700"/>
          <ac:spMkLst>
            <pc:docMk/>
            <pc:sldMk cId="2055189980" sldId="257"/>
            <ac:spMk id="5" creationId="{95BCEF02-A362-47E2-8885-1C35739097A0}"/>
          </ac:spMkLst>
        </pc:spChg>
        <pc:spChg chg="add mod ord">
          <ac:chgData name="Pashikanti, Rohan" userId="d9b26f8f-27e3-4335-a6ca-4584cbc52f6a" providerId="ADAL" clId="{3B32E777-196D-4F52-B92E-11C9C36EF290}" dt="2021-10-22T11:28:47.080" v="1240" actId="20577"/>
          <ac:spMkLst>
            <pc:docMk/>
            <pc:sldMk cId="2055189980" sldId="257"/>
            <ac:spMk id="6" creationId="{905951C8-995D-47C6-A1B9-330CD138D464}"/>
          </ac:spMkLst>
        </pc:spChg>
      </pc:sldChg>
      <pc:sldChg chg="new del">
        <pc:chgData name="Pashikanti, Rohan" userId="d9b26f8f-27e3-4335-a6ca-4584cbc52f6a" providerId="ADAL" clId="{3B32E777-196D-4F52-B92E-11C9C36EF290}" dt="2021-10-22T11:18:42.873" v="129" actId="47"/>
        <pc:sldMkLst>
          <pc:docMk/>
          <pc:sldMk cId="4122309906" sldId="257"/>
        </pc:sldMkLst>
      </pc:sldChg>
      <pc:sldChg chg="addSp delSp modSp new mod modClrScheme chgLayout">
        <pc:chgData name="Pashikanti, Rohan" userId="d9b26f8f-27e3-4335-a6ca-4584cbc52f6a" providerId="ADAL" clId="{3B32E777-196D-4F52-B92E-11C9C36EF290}" dt="2021-10-22T11:50:22.555" v="1951" actId="20577"/>
        <pc:sldMkLst>
          <pc:docMk/>
          <pc:sldMk cId="2905405902" sldId="258"/>
        </pc:sldMkLst>
        <pc:spChg chg="mod ord">
          <ac:chgData name="Pashikanti, Rohan" userId="d9b26f8f-27e3-4335-a6ca-4584cbc52f6a" providerId="ADAL" clId="{3B32E777-196D-4F52-B92E-11C9C36EF290}" dt="2021-10-22T11:29:46.992" v="1258" actId="700"/>
          <ac:spMkLst>
            <pc:docMk/>
            <pc:sldMk cId="2905405902" sldId="258"/>
            <ac:spMk id="2" creationId="{F22449EF-DD3C-4F29-BBC3-8799FE55595F}"/>
          </ac:spMkLst>
        </pc:spChg>
        <pc:spChg chg="del">
          <ac:chgData name="Pashikanti, Rohan" userId="d9b26f8f-27e3-4335-a6ca-4584cbc52f6a" providerId="ADAL" clId="{3B32E777-196D-4F52-B92E-11C9C36EF290}" dt="2021-10-22T11:29:46.992" v="1258" actId="700"/>
          <ac:spMkLst>
            <pc:docMk/>
            <pc:sldMk cId="2905405902" sldId="258"/>
            <ac:spMk id="3" creationId="{ADE0AFC6-C6E0-4717-B6D4-23B020F58FC9}"/>
          </ac:spMkLst>
        </pc:spChg>
        <pc:spChg chg="del mod ord">
          <ac:chgData name="Pashikanti, Rohan" userId="d9b26f8f-27e3-4335-a6ca-4584cbc52f6a" providerId="ADAL" clId="{3B32E777-196D-4F52-B92E-11C9C36EF290}" dt="2021-10-22T11:29:46.992" v="1258" actId="700"/>
          <ac:spMkLst>
            <pc:docMk/>
            <pc:sldMk cId="2905405902" sldId="258"/>
            <ac:spMk id="4" creationId="{D7C9A200-245D-475D-A0F6-8A547CD405E7}"/>
          </ac:spMkLst>
        </pc:spChg>
        <pc:spChg chg="add mod ord">
          <ac:chgData name="Pashikanti, Rohan" userId="d9b26f8f-27e3-4335-a6ca-4584cbc52f6a" providerId="ADAL" clId="{3B32E777-196D-4F52-B92E-11C9C36EF290}" dt="2021-10-22T11:50:22.555" v="1951" actId="20577"/>
          <ac:spMkLst>
            <pc:docMk/>
            <pc:sldMk cId="2905405902" sldId="258"/>
            <ac:spMk id="5" creationId="{D819D41F-9E65-49DA-AB2D-3C299C81306F}"/>
          </ac:spMkLst>
        </pc:spChg>
        <pc:spChg chg="add mod ord">
          <ac:chgData name="Pashikanti, Rohan" userId="d9b26f8f-27e3-4335-a6ca-4584cbc52f6a" providerId="ADAL" clId="{3B32E777-196D-4F52-B92E-11C9C36EF290}" dt="2021-10-22T11:42:58.285" v="1608" actId="14100"/>
          <ac:spMkLst>
            <pc:docMk/>
            <pc:sldMk cId="2905405902" sldId="258"/>
            <ac:spMk id="6" creationId="{A718C4AE-9E56-40CC-9EB7-8C934BF47CD2}"/>
          </ac:spMkLst>
        </pc:spChg>
        <pc:spChg chg="add del mod">
          <ac:chgData name="Pashikanti, Rohan" userId="d9b26f8f-27e3-4335-a6ca-4584cbc52f6a" providerId="ADAL" clId="{3B32E777-196D-4F52-B92E-11C9C36EF290}" dt="2021-10-22T11:45:39.860" v="1623"/>
          <ac:spMkLst>
            <pc:docMk/>
            <pc:sldMk cId="2905405902" sldId="258"/>
            <ac:spMk id="7" creationId="{5B86E446-CF2C-4ECC-9CBA-DEA39B8A17C9}"/>
          </ac:spMkLst>
        </pc:spChg>
        <pc:spChg chg="add mod">
          <ac:chgData name="Pashikanti, Rohan" userId="d9b26f8f-27e3-4335-a6ca-4584cbc52f6a" providerId="ADAL" clId="{3B32E777-196D-4F52-B92E-11C9C36EF290}" dt="2021-10-22T11:45:38.409" v="1621" actId="207"/>
          <ac:spMkLst>
            <pc:docMk/>
            <pc:sldMk cId="2905405902" sldId="258"/>
            <ac:spMk id="8" creationId="{6679F538-7BA3-460E-A66E-5B732A2E6412}"/>
          </ac:spMkLst>
        </pc:spChg>
      </pc:sldChg>
      <pc:sldChg chg="delSp modSp new mod modNotesTx">
        <pc:chgData name="Pashikanti, Rohan" userId="d9b26f8f-27e3-4335-a6ca-4584cbc52f6a" providerId="ADAL" clId="{3B32E777-196D-4F52-B92E-11C9C36EF290}" dt="2021-10-22T12:03:02.386" v="2393" actId="20577"/>
        <pc:sldMkLst>
          <pc:docMk/>
          <pc:sldMk cId="132896351" sldId="259"/>
        </pc:sldMkLst>
        <pc:spChg chg="mod">
          <ac:chgData name="Pashikanti, Rohan" userId="d9b26f8f-27e3-4335-a6ca-4584cbc52f6a" providerId="ADAL" clId="{3B32E777-196D-4F52-B92E-11C9C36EF290}" dt="2021-10-22T11:46:32.372" v="1659" actId="20577"/>
          <ac:spMkLst>
            <pc:docMk/>
            <pc:sldMk cId="132896351" sldId="259"/>
            <ac:spMk id="2" creationId="{65EFA7D1-03CB-4968-98E5-2DCE3EA2AE68}"/>
          </ac:spMkLst>
        </pc:spChg>
        <pc:spChg chg="mod">
          <ac:chgData name="Pashikanti, Rohan" userId="d9b26f8f-27e3-4335-a6ca-4584cbc52f6a" providerId="ADAL" clId="{3B32E777-196D-4F52-B92E-11C9C36EF290}" dt="2021-10-22T12:03:02.386" v="2393" actId="20577"/>
          <ac:spMkLst>
            <pc:docMk/>
            <pc:sldMk cId="132896351" sldId="259"/>
            <ac:spMk id="3" creationId="{0DE4EA46-11FF-47B3-B696-AE77B09D0B93}"/>
          </ac:spMkLst>
        </pc:spChg>
        <pc:spChg chg="del">
          <ac:chgData name="Pashikanti, Rohan" userId="d9b26f8f-27e3-4335-a6ca-4584cbc52f6a" providerId="ADAL" clId="{3B32E777-196D-4F52-B92E-11C9C36EF290}" dt="2021-10-22T12:02:55.314" v="2387" actId="478"/>
          <ac:spMkLst>
            <pc:docMk/>
            <pc:sldMk cId="132896351" sldId="259"/>
            <ac:spMk id="4" creationId="{7D17BD15-82C6-4B1C-A65F-72E549C756CA}"/>
          </ac:spMkLst>
        </pc:spChg>
      </pc:sldChg>
      <pc:sldChg chg="addSp delSp modSp new mod modClrScheme chgLayout">
        <pc:chgData name="Pashikanti, Rohan" userId="d9b26f8f-27e3-4335-a6ca-4584cbc52f6a" providerId="ADAL" clId="{3B32E777-196D-4F52-B92E-11C9C36EF290}" dt="2021-10-22T12:24:35.109" v="2415"/>
        <pc:sldMkLst>
          <pc:docMk/>
          <pc:sldMk cId="23217827" sldId="260"/>
        </pc:sldMkLst>
        <pc:spChg chg="mod ord">
          <ac:chgData name="Pashikanti, Rohan" userId="d9b26f8f-27e3-4335-a6ca-4584cbc52f6a" providerId="ADAL" clId="{3B32E777-196D-4F52-B92E-11C9C36EF290}" dt="2021-10-22T12:24:04.324" v="2414" actId="26606"/>
          <ac:spMkLst>
            <pc:docMk/>
            <pc:sldMk cId="23217827" sldId="260"/>
            <ac:spMk id="2" creationId="{1FEA9A87-A2D7-46A6-804D-450211A1066A}"/>
          </ac:spMkLst>
        </pc:spChg>
        <pc:spChg chg="del">
          <ac:chgData name="Pashikanti, Rohan" userId="d9b26f8f-27e3-4335-a6ca-4584cbc52f6a" providerId="ADAL" clId="{3B32E777-196D-4F52-B92E-11C9C36EF290}" dt="2021-10-22T12:24:00.328" v="2411" actId="700"/>
          <ac:spMkLst>
            <pc:docMk/>
            <pc:sldMk cId="23217827" sldId="260"/>
            <ac:spMk id="3" creationId="{45B3BD4F-AAB2-4E9B-BA11-8E0B3D3A7A03}"/>
          </ac:spMkLst>
        </pc:spChg>
        <pc:spChg chg="del">
          <ac:chgData name="Pashikanti, Rohan" userId="d9b26f8f-27e3-4335-a6ca-4584cbc52f6a" providerId="ADAL" clId="{3B32E777-196D-4F52-B92E-11C9C36EF290}" dt="2021-10-22T12:24:00.328" v="2411" actId="700"/>
          <ac:spMkLst>
            <pc:docMk/>
            <pc:sldMk cId="23217827" sldId="260"/>
            <ac:spMk id="4" creationId="{C73A916A-EDE3-4EA9-931E-F2E9999074D6}"/>
          </ac:spMkLst>
        </pc:spChg>
        <pc:spChg chg="add del mod">
          <ac:chgData name="Pashikanti, Rohan" userId="d9b26f8f-27e3-4335-a6ca-4584cbc52f6a" providerId="ADAL" clId="{3B32E777-196D-4F52-B92E-11C9C36EF290}" dt="2021-10-22T12:24:04.319" v="2413" actId="26606"/>
          <ac:spMkLst>
            <pc:docMk/>
            <pc:sldMk cId="23217827" sldId="260"/>
            <ac:spMk id="7" creationId="{36499EEF-6260-4460-B3C9-8E95A57EB868}"/>
          </ac:spMkLst>
        </pc:spChg>
        <pc:spChg chg="add del mod">
          <ac:chgData name="Pashikanti, Rohan" userId="d9b26f8f-27e3-4335-a6ca-4584cbc52f6a" providerId="ADAL" clId="{3B32E777-196D-4F52-B92E-11C9C36EF290}" dt="2021-10-22T12:24:04.319" v="2413" actId="26606"/>
          <ac:spMkLst>
            <pc:docMk/>
            <pc:sldMk cId="23217827" sldId="260"/>
            <ac:spMk id="9" creationId="{1E24E8CA-62F9-489C-941D-A8DF0C79303D}"/>
          </ac:spMkLst>
        </pc:spChg>
        <pc:spChg chg="add del mod">
          <ac:chgData name="Pashikanti, Rohan" userId="d9b26f8f-27e3-4335-a6ca-4584cbc52f6a" providerId="ADAL" clId="{3B32E777-196D-4F52-B92E-11C9C36EF290}" dt="2021-10-22T12:24:04.319" v="2413" actId="26606"/>
          <ac:spMkLst>
            <pc:docMk/>
            <pc:sldMk cId="23217827" sldId="260"/>
            <ac:spMk id="11" creationId="{D6A33621-446B-4727-9D89-50C33B5E5081}"/>
          </ac:spMkLst>
        </pc:spChg>
        <pc:spChg chg="add del mod">
          <ac:chgData name="Pashikanti, Rohan" userId="d9b26f8f-27e3-4335-a6ca-4584cbc52f6a" providerId="ADAL" clId="{3B32E777-196D-4F52-B92E-11C9C36EF290}" dt="2021-10-22T12:24:04.319" v="2413" actId="26606"/>
          <ac:spMkLst>
            <pc:docMk/>
            <pc:sldMk cId="23217827" sldId="260"/>
            <ac:spMk id="13" creationId="{B68B743F-0E73-40CC-837C-3278A8E31A29}"/>
          </ac:spMkLst>
        </pc:spChg>
        <pc:spChg chg="add mod">
          <ac:chgData name="Pashikanti, Rohan" userId="d9b26f8f-27e3-4335-a6ca-4584cbc52f6a" providerId="ADAL" clId="{3B32E777-196D-4F52-B92E-11C9C36EF290}" dt="2021-10-22T12:24:04.324" v="2414" actId="26606"/>
          <ac:spMkLst>
            <pc:docMk/>
            <pc:sldMk cId="23217827" sldId="260"/>
            <ac:spMk id="15" creationId="{F7238606-D9E9-4CF4-8F3B-34383B3EEA38}"/>
          </ac:spMkLst>
        </pc:spChg>
        <pc:picChg chg="add">
          <ac:chgData name="Pashikanti, Rohan" userId="d9b26f8f-27e3-4335-a6ca-4584cbc52f6a" providerId="ADAL" clId="{3B32E777-196D-4F52-B92E-11C9C36EF290}" dt="2021-10-22T12:24:35.109" v="2415"/>
          <ac:picMkLst>
            <pc:docMk/>
            <pc:sldMk cId="23217827" sldId="260"/>
            <ac:picMk id="22530" creationId="{2991D28F-C668-418A-AA76-2FE95F416FF6}"/>
          </ac:picMkLst>
        </pc:picChg>
      </pc:sldChg>
      <pc:sldChg chg="modSp new mod">
        <pc:chgData name="Pashikanti, Rohan" userId="d9b26f8f-27e3-4335-a6ca-4584cbc52f6a" providerId="ADAL" clId="{3B32E777-196D-4F52-B92E-11C9C36EF290}" dt="2021-10-22T12:28:03.430" v="2607" actId="20577"/>
        <pc:sldMkLst>
          <pc:docMk/>
          <pc:sldMk cId="2728769360" sldId="261"/>
        </pc:sldMkLst>
        <pc:spChg chg="mod">
          <ac:chgData name="Pashikanti, Rohan" userId="d9b26f8f-27e3-4335-a6ca-4584cbc52f6a" providerId="ADAL" clId="{3B32E777-196D-4F52-B92E-11C9C36EF290}" dt="2021-10-22T12:26:05.461" v="2428" actId="20577"/>
          <ac:spMkLst>
            <pc:docMk/>
            <pc:sldMk cId="2728769360" sldId="261"/>
            <ac:spMk id="2" creationId="{791307AD-D91E-4CD3-9EC2-A24222C6E1D2}"/>
          </ac:spMkLst>
        </pc:spChg>
        <pc:spChg chg="mod">
          <ac:chgData name="Pashikanti, Rohan" userId="d9b26f8f-27e3-4335-a6ca-4584cbc52f6a" providerId="ADAL" clId="{3B32E777-196D-4F52-B92E-11C9C36EF290}" dt="2021-10-22T12:28:03.430" v="2607" actId="20577"/>
          <ac:spMkLst>
            <pc:docMk/>
            <pc:sldMk cId="2728769360" sldId="261"/>
            <ac:spMk id="3" creationId="{3A70D8EF-236D-4D87-8159-95B8E1D76481}"/>
          </ac:spMkLst>
        </pc:spChg>
      </pc:sldChg>
      <pc:sldChg chg="del">
        <pc:chgData name="Pashikanti, Rohan" userId="d9b26f8f-27e3-4335-a6ca-4584cbc52f6a" providerId="ADAL" clId="{3B32E777-196D-4F52-B92E-11C9C36EF290}" dt="2021-10-22T11:17:51.554" v="46" actId="47"/>
        <pc:sldMkLst>
          <pc:docMk/>
          <pc:sldMk cId="2287508203" sldId="347"/>
        </pc:sldMkLst>
      </pc:sldChg>
      <pc:sldChg chg="del">
        <pc:chgData name="Pashikanti, Rohan" userId="d9b26f8f-27e3-4335-a6ca-4584cbc52f6a" providerId="ADAL" clId="{3B32E777-196D-4F52-B92E-11C9C36EF290}" dt="2021-10-22T11:17:54.793" v="51" actId="47"/>
        <pc:sldMkLst>
          <pc:docMk/>
          <pc:sldMk cId="1827110123" sldId="425"/>
        </pc:sldMkLst>
      </pc:sldChg>
      <pc:sldChg chg="del">
        <pc:chgData name="Pashikanti, Rohan" userId="d9b26f8f-27e3-4335-a6ca-4584cbc52f6a" providerId="ADAL" clId="{3B32E777-196D-4F52-B92E-11C9C36EF290}" dt="2021-10-22T11:17:52.842" v="48" actId="47"/>
        <pc:sldMkLst>
          <pc:docMk/>
          <pc:sldMk cId="581276293" sldId="429"/>
        </pc:sldMkLst>
      </pc:sldChg>
      <pc:sldChg chg="del">
        <pc:chgData name="Pashikanti, Rohan" userId="d9b26f8f-27e3-4335-a6ca-4584cbc52f6a" providerId="ADAL" clId="{3B32E777-196D-4F52-B92E-11C9C36EF290}" dt="2021-10-22T11:17:57.219" v="54" actId="47"/>
        <pc:sldMkLst>
          <pc:docMk/>
          <pc:sldMk cId="3986561876" sldId="558"/>
        </pc:sldMkLst>
      </pc:sldChg>
      <pc:sldChg chg="del">
        <pc:chgData name="Pashikanti, Rohan" userId="d9b26f8f-27e3-4335-a6ca-4584cbc52f6a" providerId="ADAL" clId="{3B32E777-196D-4F52-B92E-11C9C36EF290}" dt="2021-10-22T11:17:58.215" v="56" actId="47"/>
        <pc:sldMkLst>
          <pc:docMk/>
          <pc:sldMk cId="2874168093" sldId="585"/>
        </pc:sldMkLst>
      </pc:sldChg>
      <pc:sldChg chg="del">
        <pc:chgData name="Pashikanti, Rohan" userId="d9b26f8f-27e3-4335-a6ca-4584cbc52f6a" providerId="ADAL" clId="{3B32E777-196D-4F52-B92E-11C9C36EF290}" dt="2021-10-22T11:17:49.886" v="43" actId="47"/>
        <pc:sldMkLst>
          <pc:docMk/>
          <pc:sldMk cId="1075118450" sldId="589"/>
        </pc:sldMkLst>
      </pc:sldChg>
      <pc:sldChg chg="del">
        <pc:chgData name="Pashikanti, Rohan" userId="d9b26f8f-27e3-4335-a6ca-4584cbc52f6a" providerId="ADAL" clId="{3B32E777-196D-4F52-B92E-11C9C36EF290}" dt="2021-10-22T11:17:49.356" v="42" actId="47"/>
        <pc:sldMkLst>
          <pc:docMk/>
          <pc:sldMk cId="4276514296" sldId="590"/>
        </pc:sldMkLst>
      </pc:sldChg>
      <pc:sldChg chg="del">
        <pc:chgData name="Pashikanti, Rohan" userId="d9b26f8f-27e3-4335-a6ca-4584cbc52f6a" providerId="ADAL" clId="{3B32E777-196D-4F52-B92E-11C9C36EF290}" dt="2021-10-22T11:17:48.091" v="41" actId="47"/>
        <pc:sldMkLst>
          <pc:docMk/>
          <pc:sldMk cId="1879674313" sldId="591"/>
        </pc:sldMkLst>
      </pc:sldChg>
      <pc:sldChg chg="addSp delSp modSp del mod modClrScheme chgLayout">
        <pc:chgData name="Pashikanti, Rohan" userId="d9b26f8f-27e3-4335-a6ca-4584cbc52f6a" providerId="ADAL" clId="{3B32E777-196D-4F52-B92E-11C9C36EF290}" dt="2021-10-22T11:17:50.926" v="45" actId="47"/>
        <pc:sldMkLst>
          <pc:docMk/>
          <pc:sldMk cId="1320472234" sldId="593"/>
        </pc:sldMkLst>
        <pc:spChg chg="mod ord">
          <ac:chgData name="Pashikanti, Rohan" userId="d9b26f8f-27e3-4335-a6ca-4584cbc52f6a" providerId="ADAL" clId="{3B32E777-196D-4F52-B92E-11C9C36EF290}" dt="2021-10-22T11:17:42.910" v="40" actId="700"/>
          <ac:spMkLst>
            <pc:docMk/>
            <pc:sldMk cId="1320472234" sldId="593"/>
            <ac:spMk id="2" creationId="{67CE993C-A3C2-47F1-85BC-D6ED1AF11C20}"/>
          </ac:spMkLst>
        </pc:spChg>
        <pc:spChg chg="del mod ord">
          <ac:chgData name="Pashikanti, Rohan" userId="d9b26f8f-27e3-4335-a6ca-4584cbc52f6a" providerId="ADAL" clId="{3B32E777-196D-4F52-B92E-11C9C36EF290}" dt="2021-10-22T11:17:17.247" v="31" actId="478"/>
          <ac:spMkLst>
            <pc:docMk/>
            <pc:sldMk cId="1320472234" sldId="593"/>
            <ac:spMk id="4" creationId="{43B57625-2C57-471B-93E8-31A7EBAC4CE5}"/>
          </ac:spMkLst>
        </pc:spChg>
        <pc:spChg chg="del">
          <ac:chgData name="Pashikanti, Rohan" userId="d9b26f8f-27e3-4335-a6ca-4584cbc52f6a" providerId="ADAL" clId="{3B32E777-196D-4F52-B92E-11C9C36EF290}" dt="2021-10-22T11:17:00.744" v="24" actId="478"/>
          <ac:spMkLst>
            <pc:docMk/>
            <pc:sldMk cId="1320472234" sldId="593"/>
            <ac:spMk id="5" creationId="{63693B20-AB88-4964-9E6F-10FDACF45EB5}"/>
          </ac:spMkLst>
        </pc:spChg>
        <pc:spChg chg="del mod ord">
          <ac:chgData name="Pashikanti, Rohan" userId="d9b26f8f-27e3-4335-a6ca-4584cbc52f6a" providerId="ADAL" clId="{3B32E777-196D-4F52-B92E-11C9C36EF290}" dt="2021-10-22T11:17:20.429" v="33" actId="478"/>
          <ac:spMkLst>
            <pc:docMk/>
            <pc:sldMk cId="1320472234" sldId="593"/>
            <ac:spMk id="6" creationId="{728EE87E-060D-4314-AB50-BD570F3358FD}"/>
          </ac:spMkLst>
        </pc:spChg>
        <pc:spChg chg="del mod ord">
          <ac:chgData name="Pashikanti, Rohan" userId="d9b26f8f-27e3-4335-a6ca-4584cbc52f6a" providerId="ADAL" clId="{3B32E777-196D-4F52-B92E-11C9C36EF290}" dt="2021-10-22T11:17:21.389" v="34" actId="478"/>
          <ac:spMkLst>
            <pc:docMk/>
            <pc:sldMk cId="1320472234" sldId="593"/>
            <ac:spMk id="7" creationId="{516D870F-1B57-4D07-8159-E3F47A13D608}"/>
          </ac:spMkLst>
        </pc:spChg>
        <pc:spChg chg="del">
          <ac:chgData name="Pashikanti, Rohan" userId="d9b26f8f-27e3-4335-a6ca-4584cbc52f6a" providerId="ADAL" clId="{3B32E777-196D-4F52-B92E-11C9C36EF290}" dt="2021-10-22T11:16:59.841" v="23" actId="478"/>
          <ac:spMkLst>
            <pc:docMk/>
            <pc:sldMk cId="1320472234" sldId="593"/>
            <ac:spMk id="8" creationId="{C56A5905-F748-472A-8CEC-ACB247ED2001}"/>
          </ac:spMkLst>
        </pc:spChg>
        <pc:spChg chg="del mod ord">
          <ac:chgData name="Pashikanti, Rohan" userId="d9b26f8f-27e3-4335-a6ca-4584cbc52f6a" providerId="ADAL" clId="{3B32E777-196D-4F52-B92E-11C9C36EF290}" dt="2021-10-22T11:17:16.154" v="30" actId="478"/>
          <ac:spMkLst>
            <pc:docMk/>
            <pc:sldMk cId="1320472234" sldId="593"/>
            <ac:spMk id="9" creationId="{14ABB018-B55D-4411-951E-38CD24F2C361}"/>
          </ac:spMkLst>
        </pc:spChg>
        <pc:spChg chg="del mod ord">
          <ac:chgData name="Pashikanti, Rohan" userId="d9b26f8f-27e3-4335-a6ca-4584cbc52f6a" providerId="ADAL" clId="{3B32E777-196D-4F52-B92E-11C9C36EF290}" dt="2021-10-22T11:17:24.136" v="36" actId="478"/>
          <ac:spMkLst>
            <pc:docMk/>
            <pc:sldMk cId="1320472234" sldId="593"/>
            <ac:spMk id="10" creationId="{78531F63-CA00-42EC-B08D-919D48D70987}"/>
          </ac:spMkLst>
        </pc:spChg>
        <pc:spChg chg="del mod ord">
          <ac:chgData name="Pashikanti, Rohan" userId="d9b26f8f-27e3-4335-a6ca-4584cbc52f6a" providerId="ADAL" clId="{3B32E777-196D-4F52-B92E-11C9C36EF290}" dt="2021-10-22T11:17:18.544" v="32" actId="478"/>
          <ac:spMkLst>
            <pc:docMk/>
            <pc:sldMk cId="1320472234" sldId="593"/>
            <ac:spMk id="11" creationId="{5BA5199E-D530-47BF-845A-1DC41929FECF}"/>
          </ac:spMkLst>
        </pc:spChg>
        <pc:spChg chg="del mod ord">
          <ac:chgData name="Pashikanti, Rohan" userId="d9b26f8f-27e3-4335-a6ca-4584cbc52f6a" providerId="ADAL" clId="{3B32E777-196D-4F52-B92E-11C9C36EF290}" dt="2021-10-22T11:17:14.816" v="29" actId="478"/>
          <ac:spMkLst>
            <pc:docMk/>
            <pc:sldMk cId="1320472234" sldId="593"/>
            <ac:spMk id="12" creationId="{8E0AF863-92C7-409E-B90C-434640D9A71F}"/>
          </ac:spMkLst>
        </pc:spChg>
        <pc:spChg chg="del mod ord">
          <ac:chgData name="Pashikanti, Rohan" userId="d9b26f8f-27e3-4335-a6ca-4584cbc52f6a" providerId="ADAL" clId="{3B32E777-196D-4F52-B92E-11C9C36EF290}" dt="2021-10-22T11:17:27.450" v="39" actId="478"/>
          <ac:spMkLst>
            <pc:docMk/>
            <pc:sldMk cId="1320472234" sldId="593"/>
            <ac:spMk id="13" creationId="{B87DCC42-EAD0-48CA-A9B1-28B340A64503}"/>
          </ac:spMkLst>
        </pc:spChg>
        <pc:spChg chg="del mod ord">
          <ac:chgData name="Pashikanti, Rohan" userId="d9b26f8f-27e3-4335-a6ca-4584cbc52f6a" providerId="ADAL" clId="{3B32E777-196D-4F52-B92E-11C9C36EF290}" dt="2021-10-22T11:17:22.831" v="35" actId="478"/>
          <ac:spMkLst>
            <pc:docMk/>
            <pc:sldMk cId="1320472234" sldId="593"/>
            <ac:spMk id="14" creationId="{699D1A75-8E98-4748-A473-A072C624435C}"/>
          </ac:spMkLst>
        </pc:spChg>
        <pc:spChg chg="add del mod">
          <ac:chgData name="Pashikanti, Rohan" userId="d9b26f8f-27e3-4335-a6ca-4584cbc52f6a" providerId="ADAL" clId="{3B32E777-196D-4F52-B92E-11C9C36EF290}" dt="2021-10-22T11:17:04.641" v="26" actId="478"/>
          <ac:spMkLst>
            <pc:docMk/>
            <pc:sldMk cId="1320472234" sldId="593"/>
            <ac:spMk id="15" creationId="{13AE8BFF-7C5F-4B18-B21E-BCAA5486EBF1}"/>
          </ac:spMkLst>
        </pc:spChg>
        <pc:spChg chg="add del mod">
          <ac:chgData name="Pashikanti, Rohan" userId="d9b26f8f-27e3-4335-a6ca-4584cbc52f6a" providerId="ADAL" clId="{3B32E777-196D-4F52-B92E-11C9C36EF290}" dt="2021-10-22T11:17:02.284" v="25" actId="478"/>
          <ac:spMkLst>
            <pc:docMk/>
            <pc:sldMk cId="1320472234" sldId="593"/>
            <ac:spMk id="17" creationId="{5A2D1617-5607-4E4B-A5BE-24A3917B311A}"/>
          </ac:spMkLst>
        </pc:spChg>
        <pc:spChg chg="add mod ord">
          <ac:chgData name="Pashikanti, Rohan" userId="d9b26f8f-27e3-4335-a6ca-4584cbc52f6a" providerId="ADAL" clId="{3B32E777-196D-4F52-B92E-11C9C36EF290}" dt="2021-10-22T11:17:42.910" v="40" actId="700"/>
          <ac:spMkLst>
            <pc:docMk/>
            <pc:sldMk cId="1320472234" sldId="593"/>
            <ac:spMk id="18" creationId="{D8F21FC7-460F-4608-9778-44DB905676F2}"/>
          </ac:spMkLst>
        </pc:spChg>
        <pc:spChg chg="add mod ord">
          <ac:chgData name="Pashikanti, Rohan" userId="d9b26f8f-27e3-4335-a6ca-4584cbc52f6a" providerId="ADAL" clId="{3B32E777-196D-4F52-B92E-11C9C36EF290}" dt="2021-10-22T11:17:42.910" v="40" actId="700"/>
          <ac:spMkLst>
            <pc:docMk/>
            <pc:sldMk cId="1320472234" sldId="593"/>
            <ac:spMk id="19" creationId="{2CA35130-02DE-48A5-A7CA-2B68EDB26283}"/>
          </ac:spMkLst>
        </pc:spChg>
        <pc:spChg chg="add mod ord">
          <ac:chgData name="Pashikanti, Rohan" userId="d9b26f8f-27e3-4335-a6ca-4584cbc52f6a" providerId="ADAL" clId="{3B32E777-196D-4F52-B92E-11C9C36EF290}" dt="2021-10-22T11:17:42.910" v="40" actId="700"/>
          <ac:spMkLst>
            <pc:docMk/>
            <pc:sldMk cId="1320472234" sldId="593"/>
            <ac:spMk id="20" creationId="{4E572C08-C398-4CA6-933B-C72515140046}"/>
          </ac:spMkLst>
        </pc:spChg>
        <pc:spChg chg="add mod ord">
          <ac:chgData name="Pashikanti, Rohan" userId="d9b26f8f-27e3-4335-a6ca-4584cbc52f6a" providerId="ADAL" clId="{3B32E777-196D-4F52-B92E-11C9C36EF290}" dt="2021-10-22T11:17:42.910" v="40" actId="700"/>
          <ac:spMkLst>
            <pc:docMk/>
            <pc:sldMk cId="1320472234" sldId="593"/>
            <ac:spMk id="21" creationId="{66290C19-B215-402B-AF31-2C33B5B84AE3}"/>
          </ac:spMkLst>
        </pc:spChg>
        <pc:spChg chg="add mod ord">
          <ac:chgData name="Pashikanti, Rohan" userId="d9b26f8f-27e3-4335-a6ca-4584cbc52f6a" providerId="ADAL" clId="{3B32E777-196D-4F52-B92E-11C9C36EF290}" dt="2021-10-22T11:17:42.910" v="40" actId="700"/>
          <ac:spMkLst>
            <pc:docMk/>
            <pc:sldMk cId="1320472234" sldId="593"/>
            <ac:spMk id="22" creationId="{7826B839-A576-4FF6-9E34-74C3486A299B}"/>
          </ac:spMkLst>
        </pc:spChg>
      </pc:sldChg>
      <pc:sldChg chg="del">
        <pc:chgData name="Pashikanti, Rohan" userId="d9b26f8f-27e3-4335-a6ca-4584cbc52f6a" providerId="ADAL" clId="{3B32E777-196D-4F52-B92E-11C9C36EF290}" dt="2021-10-22T11:17:56.099" v="53" actId="47"/>
        <pc:sldMkLst>
          <pc:docMk/>
          <pc:sldMk cId="2406543390" sldId="594"/>
        </pc:sldMkLst>
      </pc:sldChg>
      <pc:sldChg chg="modSp del mod">
        <pc:chgData name="Pashikanti, Rohan" userId="d9b26f8f-27e3-4335-a6ca-4584cbc52f6a" providerId="ADAL" clId="{3B32E777-196D-4F52-B92E-11C9C36EF290}" dt="2021-10-22T11:18:05.833" v="64" actId="47"/>
        <pc:sldMkLst>
          <pc:docMk/>
          <pc:sldMk cId="834419491" sldId="603"/>
        </pc:sldMkLst>
        <pc:spChg chg="mod">
          <ac:chgData name="Pashikanti, Rohan" userId="d9b26f8f-27e3-4335-a6ca-4584cbc52f6a" providerId="ADAL" clId="{3B32E777-196D-4F52-B92E-11C9C36EF290}" dt="2021-10-22T11:06:00.720" v="16" actId="20577"/>
          <ac:spMkLst>
            <pc:docMk/>
            <pc:sldMk cId="834419491" sldId="603"/>
            <ac:spMk id="2" creationId="{037692A0-4BAB-471C-89D5-57C9ED0D5AC3}"/>
          </ac:spMkLst>
        </pc:spChg>
        <pc:spChg chg="mod">
          <ac:chgData name="Pashikanti, Rohan" userId="d9b26f8f-27e3-4335-a6ca-4584cbc52f6a" providerId="ADAL" clId="{3B32E777-196D-4F52-B92E-11C9C36EF290}" dt="2021-10-22T11:05:55.981" v="13" actId="20577"/>
          <ac:spMkLst>
            <pc:docMk/>
            <pc:sldMk cId="834419491" sldId="603"/>
            <ac:spMk id="3" creationId="{1FCCB941-9A55-4FD8-A71B-74F653F5E2DF}"/>
          </ac:spMkLst>
        </pc:spChg>
      </pc:sldChg>
      <pc:sldChg chg="del">
        <pc:chgData name="Pashikanti, Rohan" userId="d9b26f8f-27e3-4335-a6ca-4584cbc52f6a" providerId="ADAL" clId="{3B32E777-196D-4F52-B92E-11C9C36EF290}" dt="2021-10-22T11:17:55.551" v="52" actId="47"/>
        <pc:sldMkLst>
          <pc:docMk/>
          <pc:sldMk cId="882824473" sldId="610"/>
        </pc:sldMkLst>
      </pc:sldChg>
      <pc:sldChg chg="del">
        <pc:chgData name="Pashikanti, Rohan" userId="d9b26f8f-27e3-4335-a6ca-4584cbc52f6a" providerId="ADAL" clId="{3B32E777-196D-4F52-B92E-11C9C36EF290}" dt="2021-10-22T11:17:53.543" v="49" actId="47"/>
        <pc:sldMkLst>
          <pc:docMk/>
          <pc:sldMk cId="2769397531" sldId="615"/>
        </pc:sldMkLst>
      </pc:sldChg>
      <pc:sldChg chg="del">
        <pc:chgData name="Pashikanti, Rohan" userId="d9b26f8f-27e3-4335-a6ca-4584cbc52f6a" providerId="ADAL" clId="{3B32E777-196D-4F52-B92E-11C9C36EF290}" dt="2021-10-22T11:17:54.293" v="50" actId="47"/>
        <pc:sldMkLst>
          <pc:docMk/>
          <pc:sldMk cId="1453149592" sldId="616"/>
        </pc:sldMkLst>
      </pc:sldChg>
      <pc:sldChg chg="addSp delSp modSp del mod">
        <pc:chgData name="Pashikanti, Rohan" userId="d9b26f8f-27e3-4335-a6ca-4584cbc52f6a" providerId="ADAL" clId="{3B32E777-196D-4F52-B92E-11C9C36EF290}" dt="2021-10-22T11:16:53.068" v="22" actId="47"/>
        <pc:sldMkLst>
          <pc:docMk/>
          <pc:sldMk cId="295513340" sldId="617"/>
        </pc:sldMkLst>
        <pc:spChg chg="del">
          <ac:chgData name="Pashikanti, Rohan" userId="d9b26f8f-27e3-4335-a6ca-4584cbc52f6a" providerId="ADAL" clId="{3B32E777-196D-4F52-B92E-11C9C36EF290}" dt="2021-10-22T11:16:45.054" v="18" actId="478"/>
          <ac:spMkLst>
            <pc:docMk/>
            <pc:sldMk cId="295513340" sldId="617"/>
            <ac:spMk id="4" creationId="{D271D366-DAD6-443B-B28E-15C58219AEC2}"/>
          </ac:spMkLst>
        </pc:spChg>
        <pc:spChg chg="add mod">
          <ac:chgData name="Pashikanti, Rohan" userId="d9b26f8f-27e3-4335-a6ca-4584cbc52f6a" providerId="ADAL" clId="{3B32E777-196D-4F52-B92E-11C9C36EF290}" dt="2021-10-22T11:16:43.429" v="17" actId="478"/>
          <ac:spMkLst>
            <pc:docMk/>
            <pc:sldMk cId="295513340" sldId="617"/>
            <ac:spMk id="5" creationId="{941215EF-1A3A-4FF5-9235-8032E78FEC3A}"/>
          </ac:spMkLst>
        </pc:spChg>
        <pc:spChg chg="del">
          <ac:chgData name="Pashikanti, Rohan" userId="d9b26f8f-27e3-4335-a6ca-4584cbc52f6a" providerId="ADAL" clId="{3B32E777-196D-4F52-B92E-11C9C36EF290}" dt="2021-10-22T11:16:46.403" v="19" actId="478"/>
          <ac:spMkLst>
            <pc:docMk/>
            <pc:sldMk cId="295513340" sldId="617"/>
            <ac:spMk id="6" creationId="{24B98095-57B7-46B7-9CCA-A894F31CC343}"/>
          </ac:spMkLst>
        </pc:spChg>
        <pc:spChg chg="add mod">
          <ac:chgData name="Pashikanti, Rohan" userId="d9b26f8f-27e3-4335-a6ca-4584cbc52f6a" providerId="ADAL" clId="{3B32E777-196D-4F52-B92E-11C9C36EF290}" dt="2021-10-22T11:16:45.054" v="18" actId="478"/>
          <ac:spMkLst>
            <pc:docMk/>
            <pc:sldMk cId="295513340" sldId="617"/>
            <ac:spMk id="8" creationId="{7EE919F0-DDD1-4336-B73E-DE5C55632327}"/>
          </ac:spMkLst>
        </pc:spChg>
        <pc:spChg chg="add mod">
          <ac:chgData name="Pashikanti, Rohan" userId="d9b26f8f-27e3-4335-a6ca-4584cbc52f6a" providerId="ADAL" clId="{3B32E777-196D-4F52-B92E-11C9C36EF290}" dt="2021-10-22T11:16:46.403" v="19" actId="478"/>
          <ac:spMkLst>
            <pc:docMk/>
            <pc:sldMk cId="295513340" sldId="617"/>
            <ac:spMk id="10" creationId="{5204D8A8-9246-4824-8768-B99C262731C9}"/>
          </ac:spMkLst>
        </pc:spChg>
        <pc:spChg chg="add del mod">
          <ac:chgData name="Pashikanti, Rohan" userId="d9b26f8f-27e3-4335-a6ca-4584cbc52f6a" providerId="ADAL" clId="{3B32E777-196D-4F52-B92E-11C9C36EF290}" dt="2021-10-22T11:16:48.371" v="21" actId="478"/>
          <ac:spMkLst>
            <pc:docMk/>
            <pc:sldMk cId="295513340" sldId="617"/>
            <ac:spMk id="12" creationId="{8D4DBEC9-9FF1-4BF0-A5C2-27662F051E98}"/>
          </ac:spMkLst>
        </pc:spChg>
        <pc:graphicFrameChg chg="del">
          <ac:chgData name="Pashikanti, Rohan" userId="d9b26f8f-27e3-4335-a6ca-4584cbc52f6a" providerId="ADAL" clId="{3B32E777-196D-4F52-B92E-11C9C36EF290}" dt="2021-10-22T11:16:47.593" v="20" actId="478"/>
          <ac:graphicFrameMkLst>
            <pc:docMk/>
            <pc:sldMk cId="295513340" sldId="617"/>
            <ac:graphicFrameMk id="14" creationId="{1B8EBEFD-D01C-4602-B12A-FD6804B55AB2}"/>
          </ac:graphicFrameMkLst>
        </pc:graphicFrameChg>
        <pc:graphicFrameChg chg="del">
          <ac:chgData name="Pashikanti, Rohan" userId="d9b26f8f-27e3-4335-a6ca-4584cbc52f6a" providerId="ADAL" clId="{3B32E777-196D-4F52-B92E-11C9C36EF290}" dt="2021-10-22T11:16:43.429" v="17" actId="478"/>
          <ac:graphicFrameMkLst>
            <pc:docMk/>
            <pc:sldMk cId="295513340" sldId="617"/>
            <ac:graphicFrameMk id="19" creationId="{EDF07F57-EB7C-4C5B-A845-FD24BA6647EB}"/>
          </ac:graphicFrameMkLst>
        </pc:graphicFrameChg>
      </pc:sldChg>
      <pc:sldChg chg="del">
        <pc:chgData name="Pashikanti, Rohan" userId="d9b26f8f-27e3-4335-a6ca-4584cbc52f6a" providerId="ADAL" clId="{3B32E777-196D-4F52-B92E-11C9C36EF290}" dt="2021-10-22T11:17:52.055" v="47" actId="47"/>
        <pc:sldMkLst>
          <pc:docMk/>
          <pc:sldMk cId="1331803731" sldId="618"/>
        </pc:sldMkLst>
      </pc:sldChg>
      <pc:sldChg chg="del">
        <pc:chgData name="Pashikanti, Rohan" userId="d9b26f8f-27e3-4335-a6ca-4584cbc52f6a" providerId="ADAL" clId="{3B32E777-196D-4F52-B92E-11C9C36EF290}" dt="2021-10-22T11:17:57.714" v="55" actId="47"/>
        <pc:sldMkLst>
          <pc:docMk/>
          <pc:sldMk cId="2309782593" sldId="619"/>
        </pc:sldMkLst>
      </pc:sldChg>
      <pc:sldChg chg="del">
        <pc:chgData name="Pashikanti, Rohan" userId="d9b26f8f-27e3-4335-a6ca-4584cbc52f6a" providerId="ADAL" clId="{3B32E777-196D-4F52-B92E-11C9C36EF290}" dt="2021-10-22T11:17:50.386" v="44" actId="47"/>
        <pc:sldMkLst>
          <pc:docMk/>
          <pc:sldMk cId="3463503812" sldId="623"/>
        </pc:sldMkLst>
      </pc:sldChg>
      <pc:sldChg chg="del">
        <pc:chgData name="Pashikanti, Rohan" userId="d9b26f8f-27e3-4335-a6ca-4584cbc52f6a" providerId="ADAL" clId="{3B32E777-196D-4F52-B92E-11C9C36EF290}" dt="2021-10-22T11:05:48.585" v="0" actId="47"/>
        <pc:sldMkLst>
          <pc:docMk/>
          <pc:sldMk cId="452561308" sldId="624"/>
        </pc:sldMkLst>
      </pc:sldChg>
      <pc:sldChg chg="del">
        <pc:chgData name="Pashikanti, Rohan" userId="d9b26f8f-27e3-4335-a6ca-4584cbc52f6a" providerId="ADAL" clId="{3B32E777-196D-4F52-B92E-11C9C36EF290}" dt="2021-10-22T11:17:58.684" v="57" actId="47"/>
        <pc:sldMkLst>
          <pc:docMk/>
          <pc:sldMk cId="3867431382" sldId="625"/>
        </pc:sldMkLst>
      </pc:sldChg>
      <pc:sldChg chg="del">
        <pc:chgData name="Pashikanti, Rohan" userId="d9b26f8f-27e3-4335-a6ca-4584cbc52f6a" providerId="ADAL" clId="{3B32E777-196D-4F52-B92E-11C9C36EF290}" dt="2021-10-22T11:17:59.645" v="58" actId="47"/>
        <pc:sldMkLst>
          <pc:docMk/>
          <pc:sldMk cId="1137992130" sldId="627"/>
        </pc:sldMkLst>
      </pc:sldChg>
      <pc:sldMasterChg chg="delSldLayout">
        <pc:chgData name="Pashikanti, Rohan" userId="d9b26f8f-27e3-4335-a6ca-4584cbc52f6a" providerId="ADAL" clId="{3B32E777-196D-4F52-B92E-11C9C36EF290}" dt="2021-10-22T11:17:58.215" v="56" actId="47"/>
        <pc:sldMasterMkLst>
          <pc:docMk/>
          <pc:sldMasterMk cId="1470961969" sldId="2147483648"/>
        </pc:sldMasterMkLst>
        <pc:sldLayoutChg chg="del">
          <pc:chgData name="Pashikanti, Rohan" userId="d9b26f8f-27e3-4335-a6ca-4584cbc52f6a" providerId="ADAL" clId="{3B32E777-196D-4F52-B92E-11C9C36EF290}" dt="2021-10-22T11:17:48.091" v="41" actId="47"/>
          <pc:sldLayoutMkLst>
            <pc:docMk/>
            <pc:sldMasterMk cId="1470961969" sldId="2147483648"/>
            <pc:sldLayoutMk cId="716987104" sldId="2147483732"/>
          </pc:sldLayoutMkLst>
        </pc:sldLayoutChg>
        <pc:sldLayoutChg chg="del">
          <pc:chgData name="Pashikanti, Rohan" userId="d9b26f8f-27e3-4335-a6ca-4584cbc52f6a" providerId="ADAL" clId="{3B32E777-196D-4F52-B92E-11C9C36EF290}" dt="2021-10-22T11:17:58.215" v="56" actId="47"/>
          <pc:sldLayoutMkLst>
            <pc:docMk/>
            <pc:sldMasterMk cId="1470961969" sldId="2147483648"/>
            <pc:sldLayoutMk cId="1849545395" sldId="2147483793"/>
          </pc:sldLayoutMkLst>
        </pc:sldLayoutChg>
        <pc:sldLayoutChg chg="del">
          <pc:chgData name="Pashikanti, Rohan" userId="d9b26f8f-27e3-4335-a6ca-4584cbc52f6a" providerId="ADAL" clId="{3B32E777-196D-4F52-B92E-11C9C36EF290}" dt="2021-10-22T11:17:52.055" v="47" actId="47"/>
          <pc:sldLayoutMkLst>
            <pc:docMk/>
            <pc:sldMasterMk cId="1470961969" sldId="2147483648"/>
            <pc:sldLayoutMk cId="518334914" sldId="2147483806"/>
          </pc:sldLayoutMkLst>
        </pc:sldLayoutChg>
      </pc:sldMasterChg>
      <pc:sldMasterChg chg="delSldLayout">
        <pc:chgData name="Pashikanti, Rohan" userId="d9b26f8f-27e3-4335-a6ca-4584cbc52f6a" providerId="ADAL" clId="{3B32E777-196D-4F52-B92E-11C9C36EF290}" dt="2021-10-22T11:17:59.645" v="58" actId="47"/>
        <pc:sldMasterMkLst>
          <pc:docMk/>
          <pc:sldMasterMk cId="3194511171" sldId="2147483789"/>
        </pc:sldMasterMkLst>
        <pc:sldLayoutChg chg="del">
          <pc:chgData name="Pashikanti, Rohan" userId="d9b26f8f-27e3-4335-a6ca-4584cbc52f6a" providerId="ADAL" clId="{3B32E777-196D-4F52-B92E-11C9C36EF290}" dt="2021-10-22T11:17:59.645" v="58" actId="47"/>
          <pc:sldLayoutMkLst>
            <pc:docMk/>
            <pc:sldMasterMk cId="3194511171" sldId="2147483789"/>
            <pc:sldLayoutMk cId="2233724770" sldId="2147483811"/>
          </pc:sldLayoutMkLst>
        </pc:sldLayoutChg>
      </pc:sldMasterChg>
    </pc:docChg>
  </pc:docChgLst>
  <pc:docChgLst>
    <pc:chgData name="Inna Kedege, Vibhav" userId="S::vibhav.inna.kedege@sogeti.com::1075eaf7-3324-4e90-afdf-81c662accc41" providerId="AD" clId="Web-{CB287DB1-341B-40DE-AB56-73E6524F6E5D}"/>
    <pc:docChg chg="addSld delSld modSld">
      <pc:chgData name="Inna Kedege, Vibhav" userId="S::vibhav.inna.kedege@sogeti.com::1075eaf7-3324-4e90-afdf-81c662accc41" providerId="AD" clId="Web-{CB287DB1-341B-40DE-AB56-73E6524F6E5D}" dt="2021-10-22T12:44:02.484" v="432" actId="1076"/>
      <pc:docMkLst>
        <pc:docMk/>
      </pc:docMkLst>
      <pc:sldChg chg="addSp delSp modSp">
        <pc:chgData name="Inna Kedege, Vibhav" userId="S::vibhav.inna.kedege@sogeti.com::1075eaf7-3324-4e90-afdf-81c662accc41" providerId="AD" clId="Web-{CB287DB1-341B-40DE-AB56-73E6524F6E5D}" dt="2021-10-22T12:44:02.484" v="432" actId="1076"/>
        <pc:sldMkLst>
          <pc:docMk/>
          <pc:sldMk cId="2728769360" sldId="261"/>
        </pc:sldMkLst>
        <pc:spChg chg="mod">
          <ac:chgData name="Inna Kedege, Vibhav" userId="S::vibhav.inna.kedege@sogeti.com::1075eaf7-3324-4e90-afdf-81c662accc41" providerId="AD" clId="Web-{CB287DB1-341B-40DE-AB56-73E6524F6E5D}" dt="2021-10-22T12:42:55.655" v="419" actId="14100"/>
          <ac:spMkLst>
            <pc:docMk/>
            <pc:sldMk cId="2728769360" sldId="261"/>
            <ac:spMk id="3" creationId="{3A70D8EF-236D-4D87-8159-95B8E1D76481}"/>
          </ac:spMkLst>
        </pc:spChg>
        <pc:spChg chg="del">
          <ac:chgData name="Inna Kedege, Vibhav" userId="S::vibhav.inna.kedege@sogeti.com::1075eaf7-3324-4e90-afdf-81c662accc41" providerId="AD" clId="Web-{CB287DB1-341B-40DE-AB56-73E6524F6E5D}" dt="2021-10-22T12:34:28.191" v="148"/>
          <ac:spMkLst>
            <pc:docMk/>
            <pc:sldMk cId="2728769360" sldId="261"/>
            <ac:spMk id="4" creationId="{35522F63-2BDD-4F76-9EFD-B6C18D8069F6}"/>
          </ac:spMkLst>
        </pc:spChg>
        <pc:picChg chg="add mod">
          <ac:chgData name="Inna Kedege, Vibhav" userId="S::vibhav.inna.kedege@sogeti.com::1075eaf7-3324-4e90-afdf-81c662accc41" providerId="AD" clId="Web-{CB287DB1-341B-40DE-AB56-73E6524F6E5D}" dt="2021-10-22T12:43:49.328" v="427" actId="1076"/>
          <ac:picMkLst>
            <pc:docMk/>
            <pc:sldMk cId="2728769360" sldId="261"/>
            <ac:picMk id="5" creationId="{8F1DD130-5789-4653-82B4-60C4C283C95D}"/>
          </ac:picMkLst>
        </pc:picChg>
        <pc:picChg chg="add mod">
          <ac:chgData name="Inna Kedege, Vibhav" userId="S::vibhav.inna.kedege@sogeti.com::1075eaf7-3324-4e90-afdf-81c662accc41" providerId="AD" clId="Web-{CB287DB1-341B-40DE-AB56-73E6524F6E5D}" dt="2021-10-22T12:44:02.484" v="432" actId="1076"/>
          <ac:picMkLst>
            <pc:docMk/>
            <pc:sldMk cId="2728769360" sldId="261"/>
            <ac:picMk id="6" creationId="{D59B3DD1-14E9-42BE-93A3-C80787ECF75A}"/>
          </ac:picMkLst>
        </pc:picChg>
        <pc:picChg chg="add mod">
          <ac:chgData name="Inna Kedege, Vibhav" userId="S::vibhav.inna.kedege@sogeti.com::1075eaf7-3324-4e90-afdf-81c662accc41" providerId="AD" clId="Web-{CB287DB1-341B-40DE-AB56-73E6524F6E5D}" dt="2021-10-22T12:44:00.203" v="431" actId="1076"/>
          <ac:picMkLst>
            <pc:docMk/>
            <pc:sldMk cId="2728769360" sldId="261"/>
            <ac:picMk id="7" creationId="{55D61CA7-55A4-4851-BE40-83EA9DEB459D}"/>
          </ac:picMkLst>
        </pc:picChg>
        <pc:picChg chg="add mod">
          <ac:chgData name="Inna Kedege, Vibhav" userId="S::vibhav.inna.kedege@sogeti.com::1075eaf7-3324-4e90-afdf-81c662accc41" providerId="AD" clId="Web-{CB287DB1-341B-40DE-AB56-73E6524F6E5D}" dt="2021-10-22T12:43:57.016" v="430" actId="1076"/>
          <ac:picMkLst>
            <pc:docMk/>
            <pc:sldMk cId="2728769360" sldId="261"/>
            <ac:picMk id="8" creationId="{2A2F55E2-CE21-4A4E-A19D-A5CE92193F57}"/>
          </ac:picMkLst>
        </pc:picChg>
      </pc:sldChg>
      <pc:sldChg chg="add del replId">
        <pc:chgData name="Inna Kedege, Vibhav" userId="S::vibhav.inna.kedege@sogeti.com::1075eaf7-3324-4e90-afdf-81c662accc41" providerId="AD" clId="Web-{CB287DB1-341B-40DE-AB56-73E6524F6E5D}" dt="2021-10-22T12:35:21.989" v="154"/>
        <pc:sldMkLst>
          <pc:docMk/>
          <pc:sldMk cId="2332160990" sldId="262"/>
        </pc:sldMkLst>
      </pc:sldChg>
      <pc:sldChg chg="add del replId">
        <pc:chgData name="Inna Kedege, Vibhav" userId="S::vibhav.inna.kedege@sogeti.com::1075eaf7-3324-4e90-afdf-81c662accc41" providerId="AD" clId="Web-{CB287DB1-341B-40DE-AB56-73E6524F6E5D}" dt="2021-10-22T12:35:07.801" v="152"/>
        <pc:sldMkLst>
          <pc:docMk/>
          <pc:sldMk cId="3477586207" sldId="262"/>
        </pc:sldMkLst>
      </pc:sldChg>
      <pc:sldChg chg="add del replId">
        <pc:chgData name="Inna Kedege, Vibhav" userId="S::vibhav.inna.kedege@sogeti.com::1075eaf7-3324-4e90-afdf-81c662accc41" providerId="AD" clId="Web-{CB287DB1-341B-40DE-AB56-73E6524F6E5D}" dt="2021-10-22T12:35:03.708" v="151"/>
        <pc:sldMkLst>
          <pc:docMk/>
          <pc:sldMk cId="4280342129" sldId="263"/>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21-10-22T13:28:20.694" idx="1">
    <p:pos x="5686" y="1654"/>
    <p:text>Add the plan ?</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D85B26-453F-48C1-B603-F869670B0E6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10/22/2021</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a:t>
            </a:fld>
            <a:endParaRPr lang="en-US" sz="8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10/22/2021</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just">
              <a:lnSpc>
                <a:spcPct val="150000"/>
              </a:lnSpc>
              <a:buFont typeface="Arial" panose="020B0604020202020204" pitchFamily="34" charset="0"/>
              <a:buChar char="•"/>
            </a:pPr>
            <a:r>
              <a:rPr lang="nl-NL"/>
              <a:t>Find a suitable dataset.</a:t>
            </a:r>
          </a:p>
          <a:p>
            <a:pPr marL="638175" lvl="1" indent="-285750" algn="just">
              <a:lnSpc>
                <a:spcPct val="150000"/>
              </a:lnSpc>
            </a:pPr>
            <a:r>
              <a:rPr lang="nl-NL"/>
              <a:t>Has enough datapoints</a:t>
            </a:r>
          </a:p>
          <a:p>
            <a:pPr marL="638175" lvl="1" indent="-285750" algn="just">
              <a:lnSpc>
                <a:spcPct val="150000"/>
              </a:lnSpc>
            </a:pPr>
            <a:r>
              <a:rPr lang="nl-NL"/>
              <a:t>Has defects which can be classified</a:t>
            </a:r>
          </a:p>
          <a:p>
            <a:pPr marL="285750" indent="-285750" algn="just">
              <a:lnSpc>
                <a:spcPct val="150000"/>
              </a:lnSpc>
              <a:buFont typeface="Arial" panose="020B0604020202020204" pitchFamily="34" charset="0"/>
              <a:buChar char="•"/>
            </a:pPr>
            <a:r>
              <a:rPr lang="nl-NL"/>
              <a:t>Groom the dataset</a:t>
            </a:r>
          </a:p>
          <a:p>
            <a:pPr marL="742950" lvl="1" indent="-285750" algn="just">
              <a:lnSpc>
                <a:spcPct val="150000"/>
              </a:lnSpc>
              <a:buFont typeface="Arial" panose="020B0604020202020204" pitchFamily="34" charset="0"/>
              <a:buChar char="•"/>
            </a:pPr>
            <a:r>
              <a:rPr lang="nl-NL"/>
              <a:t>Remove Null values</a:t>
            </a:r>
          </a:p>
          <a:p>
            <a:pPr marL="742950" lvl="1" indent="-285750" algn="just">
              <a:lnSpc>
                <a:spcPct val="150000"/>
              </a:lnSpc>
              <a:buFont typeface="Arial" panose="020B0604020202020204" pitchFamily="34" charset="0"/>
              <a:buChar char="•"/>
            </a:pPr>
            <a:r>
              <a:rPr lang="nl-NL"/>
              <a:t>Check formatting and repeated instances.</a:t>
            </a:r>
          </a:p>
          <a:p>
            <a:pPr marL="742950" lvl="1" indent="-285750" algn="just">
              <a:lnSpc>
                <a:spcPct val="150000"/>
              </a:lnSpc>
              <a:buFont typeface="Arial" panose="020B0604020202020204" pitchFamily="34" charset="0"/>
              <a:buChar char="•"/>
            </a:pPr>
            <a:r>
              <a:rPr lang="nl-NL"/>
              <a:t>Organising in a usable way</a:t>
            </a:r>
          </a:p>
          <a:p>
            <a:pPr marL="742950" lvl="1" indent="-285750" algn="just">
              <a:lnSpc>
                <a:spcPct val="150000"/>
              </a:lnSpc>
              <a:buFont typeface="Arial" panose="020B0604020202020204" pitchFamily="34" charset="0"/>
              <a:buChar char="•"/>
            </a:pPr>
            <a:r>
              <a:rPr lang="nl-NL"/>
              <a:t>Normalize data ?</a:t>
            </a:r>
          </a:p>
          <a:p>
            <a:pPr marL="285750" indent="-285750" algn="just">
              <a:lnSpc>
                <a:spcPct val="150000"/>
              </a:lnSpc>
              <a:buFont typeface="Arial" panose="020B0604020202020204" pitchFamily="34" charset="0"/>
              <a:buChar char="•"/>
            </a:pPr>
            <a:r>
              <a:rPr lang="nl-NL"/>
              <a:t>Look into suitable algorightms to perform prediction.</a:t>
            </a:r>
          </a:p>
          <a:p>
            <a:endParaRPr lang="nl-NL"/>
          </a:p>
        </p:txBody>
      </p:sp>
      <p:sp>
        <p:nvSpPr>
          <p:cNvPr id="4" name="Slide Number Placeholder 3"/>
          <p:cNvSpPr>
            <a:spLocks noGrp="1"/>
          </p:cNvSpPr>
          <p:nvPr>
            <p:ph type="sldNum" sz="quarter" idx="5"/>
          </p:nvPr>
        </p:nvSpPr>
        <p:spPr/>
        <p:txBody>
          <a:bodyPr/>
          <a:lstStyle/>
          <a:p>
            <a:fld id="{013F1D40-ED04-45EB-A18F-DAAE205A228F}" type="slidenum">
              <a:rPr lang="en-US" smtClean="0"/>
              <a:t>2</a:t>
            </a:fld>
            <a:endParaRPr lang="en-US"/>
          </a:p>
        </p:txBody>
      </p:sp>
    </p:spTree>
    <p:extLst>
      <p:ext uri="{BB962C8B-B14F-4D97-AF65-F5344CB8AC3E}">
        <p14:creationId xmlns:p14="http://schemas.microsoft.com/office/powerpoint/2010/main" val="3937826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50000"/>
              </a:lnSpc>
              <a:buFont typeface="Arial" panose="020B0604020202020204" pitchFamily="34" charset="0"/>
              <a:buChar char="•"/>
            </a:pPr>
            <a:r>
              <a:rPr lang="nl-NL"/>
              <a:t>Converted Quality to a binary feature</a:t>
            </a:r>
          </a:p>
          <a:p>
            <a:pPr marL="638175" lvl="1" indent="-285750">
              <a:lnSpc>
                <a:spcPct val="150000"/>
              </a:lnSpc>
              <a:buFont typeface="Arial" panose="020B0604020202020204" pitchFamily="34" charset="0"/>
              <a:buChar char="•"/>
            </a:pPr>
            <a:r>
              <a:rPr lang="nl-NL"/>
              <a:t>0-5 -&gt; 0 (Bad)</a:t>
            </a:r>
          </a:p>
          <a:p>
            <a:pPr marL="638175" lvl="1" indent="-285750">
              <a:lnSpc>
                <a:spcPct val="150000"/>
              </a:lnSpc>
              <a:buFont typeface="Arial" panose="020B0604020202020204" pitchFamily="34" charset="0"/>
              <a:buChar char="•"/>
            </a:pPr>
            <a:r>
              <a:rPr lang="nl-NL"/>
              <a:t>6-10 -&gt; 1 (Good)</a:t>
            </a:r>
          </a:p>
          <a:p>
            <a:pPr marL="638175" lvl="1" indent="-285750">
              <a:lnSpc>
                <a:spcPct val="150000"/>
              </a:lnSpc>
              <a:buFont typeface="Arial" panose="020B0604020202020204" pitchFamily="34" charset="0"/>
              <a:buChar char="•"/>
            </a:pPr>
            <a:r>
              <a:rPr lang="nl-NL" b="1"/>
              <a:t>In order to classify them into two categories.</a:t>
            </a:r>
          </a:p>
          <a:p>
            <a:pPr marL="638175" lvl="1" indent="-285750">
              <a:lnSpc>
                <a:spcPct val="150000"/>
              </a:lnSpc>
              <a:buFont typeface="Arial" panose="020B0604020202020204" pitchFamily="34" charset="0"/>
              <a:buChar char="•"/>
            </a:pPr>
            <a:r>
              <a:rPr lang="nl-NL" b="1"/>
              <a:t>Can this be extended into 3 categories ?? ( Worse (1-3), bad (4-7), Good(8-10) ) ??</a:t>
            </a:r>
          </a:p>
          <a:p>
            <a:pPr marL="638175" lvl="1" indent="-285750">
              <a:lnSpc>
                <a:spcPct val="150000"/>
              </a:lnSpc>
              <a:buFont typeface="Arial" panose="020B0604020202020204" pitchFamily="34" charset="0"/>
              <a:buChar char="•"/>
            </a:pPr>
            <a:endParaRPr lang="nl-NL" b="1"/>
          </a:p>
          <a:p>
            <a:pPr marL="285750" indent="-285750">
              <a:lnSpc>
                <a:spcPct val="150000"/>
              </a:lnSpc>
              <a:buFont typeface="Arial" panose="020B0604020202020204" pitchFamily="34" charset="0"/>
              <a:buChar char="•"/>
            </a:pPr>
            <a:r>
              <a:rPr lang="nl-NL"/>
              <a:t>Removed incomplete samples</a:t>
            </a:r>
          </a:p>
          <a:p>
            <a:pPr marL="638175" lvl="1" indent="-285750">
              <a:lnSpc>
                <a:spcPct val="150000"/>
              </a:lnSpc>
              <a:buFont typeface="Arial" panose="020B0604020202020204" pitchFamily="34" charset="0"/>
              <a:buChar char="•"/>
            </a:pPr>
            <a:r>
              <a:rPr lang="nl-NL"/>
              <a:t>Final dataset, approx. 1600 samples.</a:t>
            </a:r>
          </a:p>
          <a:p>
            <a:pPr marL="638175" lvl="1" indent="-285750">
              <a:lnSpc>
                <a:spcPct val="150000"/>
              </a:lnSpc>
              <a:buFont typeface="Arial" panose="020B0604020202020204" pitchFamily="34" charset="0"/>
              <a:buChar char="•"/>
            </a:pPr>
            <a:r>
              <a:rPr lang="nl-NL" b="1"/>
              <a:t>Removed NaN values</a:t>
            </a:r>
          </a:p>
          <a:p>
            <a:pPr lvl="1" indent="0">
              <a:lnSpc>
                <a:spcPct val="150000"/>
              </a:lnSpc>
              <a:buNone/>
            </a:pPr>
            <a:endParaRPr lang="nl-NL"/>
          </a:p>
          <a:p>
            <a:pPr marL="285750" indent="-285750">
              <a:lnSpc>
                <a:spcPct val="150000"/>
              </a:lnSpc>
              <a:buFont typeface="Arial" panose="020B0604020202020204" pitchFamily="34" charset="0"/>
              <a:buChar char="•"/>
            </a:pPr>
            <a:r>
              <a:rPr lang="nl-NL"/>
              <a:t>Data Split</a:t>
            </a:r>
          </a:p>
          <a:p>
            <a:pPr marL="638175" lvl="1" indent="-285750">
              <a:lnSpc>
                <a:spcPct val="150000"/>
              </a:lnSpc>
              <a:buFont typeface="Arial" panose="020B0604020202020204" pitchFamily="34" charset="0"/>
              <a:buChar char="•"/>
            </a:pPr>
            <a:r>
              <a:rPr lang="nl-NL"/>
              <a:t>Train/Test – 85/15 ??</a:t>
            </a:r>
          </a:p>
          <a:p>
            <a:pPr marL="638175" lvl="1" indent="-285750">
              <a:lnSpc>
                <a:spcPct val="150000"/>
              </a:lnSpc>
              <a:buFont typeface="Arial" panose="020B0604020202020204" pitchFamily="34" charset="0"/>
              <a:buChar char="•"/>
            </a:pPr>
            <a:r>
              <a:rPr lang="nl-NL" b="1"/>
              <a:t>Test with varying splits ?</a:t>
            </a:r>
          </a:p>
          <a:p>
            <a:endParaRPr lang="nl-NL"/>
          </a:p>
        </p:txBody>
      </p:sp>
      <p:sp>
        <p:nvSpPr>
          <p:cNvPr id="4" name="Slide Number Placeholder 3"/>
          <p:cNvSpPr>
            <a:spLocks noGrp="1"/>
          </p:cNvSpPr>
          <p:nvPr>
            <p:ph type="sldNum" sz="quarter" idx="5"/>
          </p:nvPr>
        </p:nvSpPr>
        <p:spPr/>
        <p:txBody>
          <a:bodyPr/>
          <a:lstStyle/>
          <a:p>
            <a:fld id="{013F1D40-ED04-45EB-A18F-DAAE205A228F}" type="slidenum">
              <a:rPr lang="en-US" smtClean="0"/>
              <a:t>5</a:t>
            </a:fld>
            <a:endParaRPr lang="en-US"/>
          </a:p>
        </p:txBody>
      </p:sp>
    </p:spTree>
    <p:extLst>
      <p:ext uri="{BB962C8B-B14F-4D97-AF65-F5344CB8AC3E}">
        <p14:creationId xmlns:p14="http://schemas.microsoft.com/office/powerpoint/2010/main" val="272296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4.png"/><Relationship Id="rId5" Type="http://schemas.openxmlformats.org/officeDocument/2006/relationships/hyperlink" Target="https://twitter.com/sogeti" TargetMode="External"/><Relationship Id="rId4" Type="http://schemas.openxmlformats.org/officeDocument/2006/relationships/image" Target="../media/image2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en-US"/>
              <a:t>Click to edit Master title styl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en-US"/>
              <a:t>Click icon to add picture</a:t>
            </a:r>
            <a:endParaRPr lang="pt-PT"/>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en-US"/>
              <a:t>Click icon to add chart</a:t>
            </a:r>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en-US"/>
              <a:t>Click icon to add pictur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en-US"/>
              <a:t>Click icon to add pictur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en-US"/>
              <a:t>Click icon to add picture</a:t>
            </a:r>
            <a:endParaRPr lang="pt-PT"/>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en-US"/>
              <a:t>Click icon to add table</a:t>
            </a:r>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en-US" noProof="0"/>
              <a:t>Click icon to add chart</a:t>
            </a:r>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en-US" noProof="0"/>
              <a:t>Click icon to add char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en-US" noProof="0"/>
              <a:t>Click icon to add chart</a:t>
            </a:r>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a:t>
            </a:r>
            <a:r>
              <a:rPr lang="en-US" noProof="0" err="1"/>
              <a:t>texte</a:t>
            </a:r>
            <a:r>
              <a:rPr lang="en-US" noProof="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solidFill>
                <a:latin typeface="+mn-lt"/>
                <a:cs typeface="Arial"/>
              </a:rPr>
              <a:t>Copyright</a:t>
            </a:r>
            <a:r>
              <a:rPr lang="en-US" sz="800" baseline="0" noProof="0">
                <a:solidFill>
                  <a:schemeClr val="tx1"/>
                </a:solidFill>
                <a:latin typeface="+mn-lt"/>
                <a:cs typeface="Arial"/>
              </a:rPr>
              <a:t>©</a:t>
            </a:r>
            <a:r>
              <a:rPr lang="en-US" sz="800" noProof="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chemeClr val="bg1"/>
                </a:solidFill>
                <a:latin typeface="+mj-lt"/>
              </a:rPr>
              <a:t>About Sogeti</a:t>
            </a:r>
          </a:p>
          <a:p>
            <a:pPr algn="l"/>
            <a:r>
              <a:rPr lang="en-GB" sz="900" kern="120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1"/>
                </a:solidFill>
                <a:effectLst/>
                <a:latin typeface="+mj-lt"/>
                <a:ea typeface="+mn-ea"/>
                <a:cs typeface="+mn-cs"/>
              </a:rPr>
              <a:t>fueled</a:t>
            </a:r>
            <a:r>
              <a:rPr lang="en-GB" sz="900" kern="120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a:solidFill>
                  <a:schemeClr val="bg1"/>
                </a:solidFill>
                <a:effectLst/>
                <a:latin typeface="+mj-lt"/>
                <a:ea typeface="+mn-ea"/>
                <a:cs typeface="+mn-cs"/>
              </a:rPr>
              <a:t> </a:t>
            </a:r>
          </a:p>
          <a:p>
            <a:pPr algn="l"/>
            <a:r>
              <a:rPr lang="en-GB" sz="900" kern="1200">
                <a:solidFill>
                  <a:schemeClr val="bg1"/>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a:solidFill>
                <a:schemeClr val="bg1"/>
              </a:solidFill>
              <a:effectLst/>
              <a:latin typeface="+mj-lt"/>
              <a:ea typeface="+mn-ea"/>
              <a:cs typeface="+mn-cs"/>
            </a:endParaRPr>
          </a:p>
          <a:p>
            <a:pPr algn="l">
              <a:lnSpc>
                <a:spcPct val="100000"/>
              </a:lnSpc>
              <a:spcAft>
                <a:spcPts val="400"/>
              </a:spcAft>
            </a:pPr>
            <a:r>
              <a:rPr lang="en-US" sz="900">
                <a:solidFill>
                  <a:schemeClr val="bg1"/>
                </a:solidFill>
                <a:latin typeface="+mj-lt"/>
              </a:rPr>
              <a:t>Visit us at</a:t>
            </a:r>
            <a:br>
              <a:rPr lang="en-US" sz="900">
                <a:solidFill>
                  <a:schemeClr val="bg1"/>
                </a:solidFill>
                <a:latin typeface="+mj-lt"/>
              </a:rPr>
            </a:br>
            <a:r>
              <a:rPr lang="en-US" sz="1050">
                <a:solidFill>
                  <a:schemeClr val="bg1"/>
                </a:solidFill>
                <a:latin typeface="+mj-lt"/>
              </a:rPr>
              <a:t>www.sogeti.com</a:t>
            </a:r>
          </a:p>
          <a:p>
            <a:pPr algn="l">
              <a:lnSpc>
                <a:spcPts val="2000"/>
              </a:lnSpc>
            </a:pPr>
            <a:endParaRPr lang="en-US" sz="900">
              <a:solidFill>
                <a:schemeClr val="bg1"/>
              </a:solidFill>
              <a:latin typeface="+mj-lt"/>
            </a:endParaRPr>
          </a:p>
          <a:p>
            <a:pPr algn="l">
              <a:lnSpc>
                <a:spcPts val="2000"/>
              </a:lnSpc>
            </a:pPr>
            <a:endParaRPr lang="en-US" sz="90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bg1"/>
                </a:solidFill>
                <a:latin typeface="+mn-lt"/>
                <a:cs typeface="Arial"/>
              </a:rPr>
              <a:t>Copyright</a:t>
            </a:r>
            <a:r>
              <a:rPr lang="en-US" sz="800" baseline="0" noProof="0">
                <a:solidFill>
                  <a:schemeClr val="bg1"/>
                </a:solidFill>
                <a:latin typeface="+mn-lt"/>
                <a:cs typeface="Arial"/>
              </a:rPr>
              <a:t>©</a:t>
            </a:r>
            <a:r>
              <a:rPr lang="en-US" sz="800" noProof="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3917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95E616"/>
                </a:solidFill>
                <a:latin typeface="+mj-lt"/>
              </a:rPr>
              <a:t>About Sogeti</a:t>
            </a:r>
          </a:p>
          <a:p>
            <a:pPr algn="l"/>
            <a:r>
              <a:rPr lang="en-GB" sz="900" kern="120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a:solidFill>
                  <a:schemeClr val="bg2">
                    <a:lumMod val="25000"/>
                  </a:schemeClr>
                </a:solidFill>
                <a:effectLst/>
                <a:latin typeface="+mj-lt"/>
                <a:ea typeface="+mn-ea"/>
                <a:cs typeface="+mn-cs"/>
              </a:rPr>
              <a:t> </a:t>
            </a:r>
          </a:p>
          <a:p>
            <a:pPr algn="l"/>
            <a:r>
              <a:rPr lang="en-GB" sz="900" kern="120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a:solidFill>
                <a:schemeClr val="bg2">
                  <a:lumMod val="25000"/>
                </a:schemeClr>
              </a:solidFill>
              <a:effectLst/>
              <a:latin typeface="+mj-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rPr>
              <a:t>www.sogeti.com</a:t>
            </a:r>
          </a:p>
          <a:p>
            <a:pPr algn="l">
              <a:lnSpc>
                <a:spcPts val="2000"/>
              </a:lnSpc>
            </a:pPr>
            <a:endParaRPr lang="en-US" sz="900">
              <a:solidFill>
                <a:schemeClr val="bg2">
                  <a:lumMod val="25000"/>
                </a:schemeClr>
              </a:solidFill>
              <a:latin typeface="+mj-lt"/>
            </a:endParaRPr>
          </a:p>
          <a:p>
            <a:pPr algn="l">
              <a:lnSpc>
                <a:spcPts val="2000"/>
              </a:lnSpc>
            </a:pPr>
            <a:endParaRPr lang="en-US" sz="90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mn-lt"/>
                <a:cs typeface="Arial"/>
              </a:rPr>
              <a:t>Copyright</a:t>
            </a:r>
            <a:r>
              <a:rPr lang="en-US" sz="800" baseline="0" noProof="0">
                <a:solidFill>
                  <a:schemeClr val="bg1"/>
                </a:solidFill>
                <a:latin typeface="+mn-lt"/>
                <a:cs typeface="Arial"/>
              </a:rPr>
              <a:t>©</a:t>
            </a:r>
            <a:r>
              <a:rPr lang="en-US" sz="800" noProof="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19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2B0A3D"/>
                </a:solidFill>
                <a:latin typeface="+mj-lt"/>
              </a:rPr>
              <a:t>About Sogeti</a:t>
            </a:r>
          </a:p>
          <a:p>
            <a:pPr algn="l"/>
            <a:r>
              <a:rPr lang="en-GB" sz="900" kern="120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r>
              <a:rPr lang="en-GB" sz="900" kern="1200">
                <a:solidFill>
                  <a:schemeClr val="bg2">
                    <a:lumMod val="25000"/>
                  </a:schemeClr>
                </a:solidFill>
                <a:effectLst/>
                <a:latin typeface="+mj-lt"/>
                <a:ea typeface="+mn-ea"/>
                <a:cs typeface="+mn-cs"/>
              </a:rPr>
              <a:t> </a:t>
            </a:r>
          </a:p>
          <a:p>
            <a:pPr algn="l"/>
            <a:r>
              <a:rPr lang="en-GB" sz="900" kern="1200">
                <a:solidFill>
                  <a:schemeClr val="bg2">
                    <a:lumMod val="25000"/>
                  </a:schemeClr>
                </a:solidFill>
                <a:effectLst/>
                <a:latin typeface="+mj-lt"/>
                <a:ea typeface="+mn-ea"/>
                <a:cs typeface="+mn-cs"/>
              </a:rPr>
              <a:t>A global leader in consulting, digital transformation, technology and engineering services,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fr-FR" sz="900" kern="1200">
              <a:solidFill>
                <a:schemeClr val="bg2">
                  <a:lumMod val="25000"/>
                </a:schemeClr>
              </a:solidFill>
              <a:effectLst/>
              <a:latin typeface="+mj-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rPr>
              <a:t>www.sogeti.com</a:t>
            </a:r>
          </a:p>
          <a:p>
            <a:pPr algn="l">
              <a:lnSpc>
                <a:spcPts val="2000"/>
              </a:lnSpc>
            </a:pPr>
            <a:endParaRPr lang="en-US" sz="900">
              <a:solidFill>
                <a:schemeClr val="bg2">
                  <a:lumMod val="25000"/>
                </a:schemeClr>
              </a:solidFill>
              <a:latin typeface="+mj-lt"/>
            </a:endParaRPr>
          </a:p>
          <a:p>
            <a:pPr algn="l">
              <a:lnSpc>
                <a:spcPts val="2000"/>
              </a:lnSpc>
            </a:pPr>
            <a:endParaRPr lang="en-US" sz="90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a:t>Placeholder</a:t>
            </a:r>
          </a:p>
          <a:p>
            <a:pPr lvl="2"/>
            <a:r>
              <a:rPr lang="en-US"/>
              <a:t>Placeholder</a:t>
            </a:r>
          </a:p>
          <a:p>
            <a:pPr lvl="3"/>
            <a:r>
              <a:rPr lang="en-US"/>
              <a:t>Placeholder</a:t>
            </a:r>
          </a:p>
          <a:p>
            <a:pPr lvl="3"/>
            <a:endParaRPr lang="en-US"/>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en-US"/>
              <a:t>Click icon to add picture</a:t>
            </a:r>
            <a:endParaRPr lang="pt-PT"/>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en-US"/>
              <a:t>Click icon to add picture</a:t>
            </a:r>
            <a:endParaRPr lang="pt-PT"/>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err="1"/>
              <a:t>Modifiez</a:t>
            </a:r>
            <a:r>
              <a:rPr lang="en-US" noProof="0"/>
              <a:t> le style du </a:t>
            </a:r>
            <a:r>
              <a:rPr lang="en-US" noProof="0" err="1"/>
              <a:t>titre</a:t>
            </a:r>
            <a:endParaRPr lang="en-US" noProof="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a:t>Click to edit Master title style</a:t>
            </a:r>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userDrawn="1"/>
        </p:nvSpPr>
        <p:spPr>
          <a:xfrm>
            <a:off x="8918695" y="6578798"/>
            <a:ext cx="3063907"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2">
                    <a:lumMod val="50000"/>
                  </a:schemeClr>
                </a:solidFill>
                <a:cs typeface="Arial" panose="020B0604020202020204" pitchFamily="34" charset="0"/>
              </a:rPr>
              <a:t>Security Classification © 2020 Sogeti. All rights reserved.</a:t>
            </a:r>
            <a:endParaRPr lang="en-US" sz="800">
              <a:solidFill>
                <a:schemeClr val="bg2">
                  <a:lumMod val="50000"/>
                </a:schemeClr>
              </a:solidFill>
            </a:endParaRPr>
          </a:p>
        </p:txBody>
      </p:sp>
      <p:sp>
        <p:nvSpPr>
          <p:cNvPr id="35" name="ZoneTexte 4">
            <a:extLst>
              <a:ext uri="{FF2B5EF4-FFF2-40B4-BE49-F238E27FC236}">
                <a16:creationId xmlns:a16="http://schemas.microsoft.com/office/drawing/2014/main" id="{5F58D8B5-63D0-4586-BED4-54FBF204F317}"/>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2">
                    <a:lumMod val="50000"/>
                  </a:schemeClr>
                </a:solidFill>
              </a:rPr>
              <a:t>Presentation title | Date</a:t>
            </a:r>
          </a:p>
        </p:txBody>
      </p:sp>
      <p:sp>
        <p:nvSpPr>
          <p:cNvPr id="36" name="Retângulo 43">
            <a:extLst>
              <a:ext uri="{FF2B5EF4-FFF2-40B4-BE49-F238E27FC236}">
                <a16:creationId xmlns:a16="http://schemas.microsoft.com/office/drawing/2014/main" id="{E9A350EE-F1BD-4DE5-9675-59C08C4084C6}"/>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80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tensorflow.org/lite/examples/image_classification/overview" TargetMode="Externa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4AB252-BB27-4C72-B133-B4BDE95E1013}"/>
              </a:ext>
            </a:extLst>
          </p:cNvPr>
          <p:cNvSpPr>
            <a:spLocks noGrp="1"/>
          </p:cNvSpPr>
          <p:nvPr>
            <p:ph type="ctrTitle"/>
          </p:nvPr>
        </p:nvSpPr>
        <p:spPr/>
        <p:txBody>
          <a:bodyPr/>
          <a:lstStyle/>
          <a:p>
            <a:r>
              <a:rPr lang="nl-NL"/>
              <a:t>Defect Predictor</a:t>
            </a:r>
          </a:p>
        </p:txBody>
      </p:sp>
      <p:sp>
        <p:nvSpPr>
          <p:cNvPr id="5" name="Subtitle 4">
            <a:extLst>
              <a:ext uri="{FF2B5EF4-FFF2-40B4-BE49-F238E27FC236}">
                <a16:creationId xmlns:a16="http://schemas.microsoft.com/office/drawing/2014/main" id="{DE912E2B-BECF-4A79-965B-A4B93B15E98F}"/>
              </a:ext>
            </a:extLst>
          </p:cNvPr>
          <p:cNvSpPr>
            <a:spLocks noGrp="1"/>
          </p:cNvSpPr>
          <p:nvPr>
            <p:ph type="subTitle" idx="1"/>
          </p:nvPr>
        </p:nvSpPr>
        <p:spPr/>
        <p:txBody>
          <a:bodyPr/>
          <a:lstStyle/>
          <a:p>
            <a:r>
              <a:rPr lang="nl-NL"/>
              <a:t>Progress Demo – 22 Oct 2021</a:t>
            </a:r>
          </a:p>
        </p:txBody>
      </p:sp>
    </p:spTree>
    <p:extLst>
      <p:ext uri="{BB962C8B-B14F-4D97-AF65-F5344CB8AC3E}">
        <p14:creationId xmlns:p14="http://schemas.microsoft.com/office/powerpoint/2010/main" val="886178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28977B-E2E1-41A1-84C3-1C3F428586B5}"/>
              </a:ext>
            </a:extLst>
          </p:cNvPr>
          <p:cNvSpPr>
            <a:spLocks noGrp="1"/>
          </p:cNvSpPr>
          <p:nvPr>
            <p:ph type="title"/>
          </p:nvPr>
        </p:nvSpPr>
        <p:spPr/>
        <p:txBody>
          <a:bodyPr/>
          <a:lstStyle/>
          <a:p>
            <a:r>
              <a:rPr lang="nl-NL"/>
              <a:t>Problem Statement and Planning</a:t>
            </a:r>
          </a:p>
        </p:txBody>
      </p:sp>
      <p:sp>
        <p:nvSpPr>
          <p:cNvPr id="5" name="Picture Placeholder 4">
            <a:extLst>
              <a:ext uri="{FF2B5EF4-FFF2-40B4-BE49-F238E27FC236}">
                <a16:creationId xmlns:a16="http://schemas.microsoft.com/office/drawing/2014/main" id="{95BCEF02-A362-47E2-8885-1C35739097A0}"/>
              </a:ext>
            </a:extLst>
          </p:cNvPr>
          <p:cNvSpPr>
            <a:spLocks noGrp="1"/>
          </p:cNvSpPr>
          <p:nvPr>
            <p:ph type="pic" sz="quarter" idx="38"/>
          </p:nvPr>
        </p:nvSpPr>
        <p:spPr/>
      </p:sp>
      <p:sp>
        <p:nvSpPr>
          <p:cNvPr id="6" name="Text Placeholder 5">
            <a:extLst>
              <a:ext uri="{FF2B5EF4-FFF2-40B4-BE49-F238E27FC236}">
                <a16:creationId xmlns:a16="http://schemas.microsoft.com/office/drawing/2014/main" id="{905951C8-995D-47C6-A1B9-330CD138D464}"/>
              </a:ext>
            </a:extLst>
          </p:cNvPr>
          <p:cNvSpPr>
            <a:spLocks noGrp="1"/>
          </p:cNvSpPr>
          <p:nvPr>
            <p:ph type="body" sz="quarter" idx="39"/>
          </p:nvPr>
        </p:nvSpPr>
        <p:spPr/>
        <p:txBody>
          <a:bodyPr/>
          <a:lstStyle/>
          <a:p>
            <a:pPr marL="285750" indent="-285750" algn="just">
              <a:lnSpc>
                <a:spcPct val="150000"/>
              </a:lnSpc>
              <a:buFont typeface="Arial" panose="020B0604020202020204" pitchFamily="34" charset="0"/>
              <a:buChar char="•"/>
            </a:pPr>
            <a:r>
              <a:rPr lang="nl-NL"/>
              <a:t>Defect prediction which can differentiate between two levels of defects with an accuracy indicator.</a:t>
            </a:r>
          </a:p>
          <a:p>
            <a:pPr algn="just">
              <a:lnSpc>
                <a:spcPct val="150000"/>
              </a:lnSpc>
            </a:pPr>
            <a:endParaRPr lang="nl-NL"/>
          </a:p>
          <a:p>
            <a:pPr algn="just">
              <a:lnSpc>
                <a:spcPct val="150000"/>
              </a:lnSpc>
            </a:pPr>
            <a:r>
              <a:rPr lang="nl-NL"/>
              <a:t>This can be further broken down to:</a:t>
            </a:r>
          </a:p>
          <a:p>
            <a:pPr marL="285750" indent="-285750" algn="just">
              <a:lnSpc>
                <a:spcPct val="150000"/>
              </a:lnSpc>
              <a:buFont typeface="Arial" panose="020B0604020202020204" pitchFamily="34" charset="0"/>
              <a:buChar char="•"/>
            </a:pPr>
            <a:r>
              <a:rPr lang="nl-NL"/>
              <a:t>Find a suitable dataset.</a:t>
            </a:r>
          </a:p>
          <a:p>
            <a:pPr marL="285750" indent="-285750" algn="just">
              <a:lnSpc>
                <a:spcPct val="150000"/>
              </a:lnSpc>
              <a:buFont typeface="Arial" panose="020B0604020202020204" pitchFamily="34" charset="0"/>
              <a:buChar char="•"/>
            </a:pPr>
            <a:r>
              <a:rPr lang="nl-NL"/>
              <a:t>Groom the dataset.</a:t>
            </a:r>
          </a:p>
          <a:p>
            <a:pPr marL="285750" indent="-285750" algn="just">
              <a:lnSpc>
                <a:spcPct val="150000"/>
              </a:lnSpc>
              <a:buFont typeface="Arial" panose="020B0604020202020204" pitchFamily="34" charset="0"/>
              <a:buChar char="•"/>
            </a:pPr>
            <a:r>
              <a:rPr lang="nl-NL"/>
              <a:t>Suitable algorithm for regression.</a:t>
            </a:r>
          </a:p>
          <a:p>
            <a:pPr marL="285750" indent="-285750" algn="just">
              <a:lnSpc>
                <a:spcPct val="150000"/>
              </a:lnSpc>
              <a:buFont typeface="Arial" panose="020B0604020202020204" pitchFamily="34" charset="0"/>
              <a:buChar char="•"/>
            </a:pPr>
            <a:r>
              <a:rPr lang="nl-NL"/>
              <a:t>Train, Test, Validate.</a:t>
            </a:r>
          </a:p>
          <a:p>
            <a:pPr marL="285750" indent="-285750" algn="just">
              <a:lnSpc>
                <a:spcPct val="150000"/>
              </a:lnSpc>
              <a:buFont typeface="Arial" panose="020B0604020202020204" pitchFamily="34" charset="0"/>
              <a:buChar char="•"/>
            </a:pPr>
            <a:r>
              <a:rPr lang="nl-NL"/>
              <a:t>Final working prototype in python</a:t>
            </a:r>
          </a:p>
          <a:p>
            <a:pPr marL="285750" indent="-285750" algn="just">
              <a:lnSpc>
                <a:spcPct val="150000"/>
              </a:lnSpc>
              <a:buFont typeface="Arial" panose="020B0604020202020204" pitchFamily="34" charset="0"/>
              <a:buChar char="•"/>
            </a:pPr>
            <a:endParaRPr lang="nl-NL"/>
          </a:p>
          <a:p>
            <a:pPr algn="just">
              <a:lnSpc>
                <a:spcPct val="150000"/>
              </a:lnSpc>
            </a:pPr>
            <a:endParaRPr lang="nl-NL"/>
          </a:p>
        </p:txBody>
      </p:sp>
    </p:spTree>
    <p:extLst>
      <p:ext uri="{BB962C8B-B14F-4D97-AF65-F5344CB8AC3E}">
        <p14:creationId xmlns:p14="http://schemas.microsoft.com/office/powerpoint/2010/main" val="2055189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A9A87-A2D7-46A6-804D-450211A1066A}"/>
              </a:ext>
            </a:extLst>
          </p:cNvPr>
          <p:cNvSpPr>
            <a:spLocks noGrp="1"/>
          </p:cNvSpPr>
          <p:nvPr>
            <p:ph type="title"/>
          </p:nvPr>
        </p:nvSpPr>
        <p:spPr>
          <a:xfrm>
            <a:off x="395999" y="396000"/>
            <a:ext cx="11520000" cy="864000"/>
          </a:xfrm>
        </p:spPr>
        <p:txBody>
          <a:bodyPr anchor="t">
            <a:normAutofit/>
          </a:bodyPr>
          <a:lstStyle/>
          <a:p>
            <a:r>
              <a:rPr lang="nl-NL"/>
              <a:t>Ideas</a:t>
            </a:r>
          </a:p>
        </p:txBody>
      </p:sp>
      <p:sp>
        <p:nvSpPr>
          <p:cNvPr id="15" name="Text Placeholder 2">
            <a:extLst>
              <a:ext uri="{FF2B5EF4-FFF2-40B4-BE49-F238E27FC236}">
                <a16:creationId xmlns:a16="http://schemas.microsoft.com/office/drawing/2014/main" id="{F7238606-D9E9-4CF4-8F3B-34383B3EEA38}"/>
              </a:ext>
            </a:extLst>
          </p:cNvPr>
          <p:cNvSpPr>
            <a:spLocks noGrp="1"/>
          </p:cNvSpPr>
          <p:nvPr>
            <p:ph type="body" sz="quarter" idx="11"/>
          </p:nvPr>
        </p:nvSpPr>
        <p:spPr>
          <a:xfrm>
            <a:off x="395288" y="1440000"/>
            <a:ext cx="11520000" cy="4932000"/>
          </a:xfrm>
        </p:spPr>
        <p:txBody>
          <a:bodyPr/>
          <a:lstStyle/>
          <a:p>
            <a:endParaRPr lang="en-US"/>
          </a:p>
        </p:txBody>
      </p:sp>
      <p:pic>
        <p:nvPicPr>
          <p:cNvPr id="22530" name="Picture 2" descr="image">
            <a:extLst>
              <a:ext uri="{FF2B5EF4-FFF2-40B4-BE49-F238E27FC236}">
                <a16:creationId xmlns:a16="http://schemas.microsoft.com/office/drawing/2014/main" id="{2991D28F-C668-418A-AA76-2FE95F416F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00"/>
            <a:ext cx="12192000" cy="5027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7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449EF-DD3C-4F29-BBC3-8799FE55595F}"/>
              </a:ext>
            </a:extLst>
          </p:cNvPr>
          <p:cNvSpPr>
            <a:spLocks noGrp="1"/>
          </p:cNvSpPr>
          <p:nvPr>
            <p:ph type="title"/>
          </p:nvPr>
        </p:nvSpPr>
        <p:spPr/>
        <p:txBody>
          <a:bodyPr/>
          <a:lstStyle/>
          <a:p>
            <a:r>
              <a:rPr lang="nl-NL"/>
              <a:t>Dataset Selection</a:t>
            </a:r>
            <a:br>
              <a:rPr lang="nl-NL"/>
            </a:br>
            <a:endParaRPr lang="nl-NL"/>
          </a:p>
        </p:txBody>
      </p:sp>
      <p:sp>
        <p:nvSpPr>
          <p:cNvPr id="5" name="Text Placeholder 4">
            <a:extLst>
              <a:ext uri="{FF2B5EF4-FFF2-40B4-BE49-F238E27FC236}">
                <a16:creationId xmlns:a16="http://schemas.microsoft.com/office/drawing/2014/main" id="{D819D41F-9E65-49DA-AB2D-3C299C81306F}"/>
              </a:ext>
            </a:extLst>
          </p:cNvPr>
          <p:cNvSpPr>
            <a:spLocks noGrp="1"/>
          </p:cNvSpPr>
          <p:nvPr>
            <p:ph type="body" sz="quarter" idx="11"/>
          </p:nvPr>
        </p:nvSpPr>
        <p:spPr>
          <a:xfrm>
            <a:off x="395999" y="1146923"/>
            <a:ext cx="5400000" cy="4038263"/>
          </a:xfrm>
        </p:spPr>
        <p:txBody>
          <a:bodyPr vert="horz" lIns="0" tIns="0" rIns="0" bIns="0" rtlCol="0" anchor="t">
            <a:noAutofit/>
          </a:bodyPr>
          <a:lstStyle/>
          <a:p>
            <a:pPr marL="285750" indent="-285750">
              <a:lnSpc>
                <a:spcPct val="150000"/>
              </a:lnSpc>
              <a:buFont typeface="Arial" panose="020B0604020202020204" pitchFamily="34" charset="0"/>
              <a:buChar char="•"/>
            </a:pPr>
            <a:r>
              <a:rPr lang="nl-NL"/>
              <a:t>Wine </a:t>
            </a:r>
            <a:r>
              <a:rPr lang="nl-NL" err="1"/>
              <a:t>Quality</a:t>
            </a:r>
            <a:r>
              <a:rPr lang="nl-NL"/>
              <a:t> Dataset</a:t>
            </a:r>
          </a:p>
          <a:p>
            <a:pPr marL="285750" indent="-285750">
              <a:lnSpc>
                <a:spcPct val="150000"/>
              </a:lnSpc>
              <a:buFont typeface="Arial" panose="020B0604020202020204" pitchFamily="34" charset="0"/>
              <a:buChar char="•"/>
            </a:pPr>
            <a:r>
              <a:rPr lang="nl-NL"/>
              <a:t>Has 11 </a:t>
            </a:r>
            <a:r>
              <a:rPr lang="nl-NL" err="1"/>
              <a:t>unique</a:t>
            </a:r>
            <a:r>
              <a:rPr lang="nl-NL"/>
              <a:t> features</a:t>
            </a:r>
            <a:endParaRPr lang="nl-NL">
              <a:ea typeface="Verdana"/>
            </a:endParaRPr>
          </a:p>
          <a:p>
            <a:pPr marL="285750" indent="-285750">
              <a:lnSpc>
                <a:spcPct val="150000"/>
              </a:lnSpc>
              <a:buFont typeface="Arial" panose="020B0604020202020204" pitchFamily="34" charset="0"/>
              <a:buChar char="•"/>
            </a:pPr>
            <a:r>
              <a:rPr lang="nl-NL" err="1"/>
              <a:t>Approx</a:t>
            </a:r>
            <a:r>
              <a:rPr lang="nl-NL"/>
              <a:t>. 5000 samples</a:t>
            </a:r>
          </a:p>
          <a:p>
            <a:pPr marL="285750" indent="-285750">
              <a:lnSpc>
                <a:spcPct val="150000"/>
              </a:lnSpc>
              <a:buFont typeface="Arial" panose="020B0604020202020204" pitchFamily="34" charset="0"/>
              <a:buChar char="•"/>
            </a:pPr>
            <a:r>
              <a:rPr lang="nl-NL" err="1"/>
              <a:t>Final</a:t>
            </a:r>
            <a:r>
              <a:rPr lang="nl-NL"/>
              <a:t> </a:t>
            </a:r>
            <a:r>
              <a:rPr lang="nl-NL" err="1"/>
              <a:t>outcome</a:t>
            </a:r>
            <a:r>
              <a:rPr lang="nl-NL"/>
              <a:t> – </a:t>
            </a:r>
            <a:r>
              <a:rPr lang="nl-NL" err="1"/>
              <a:t>Quality</a:t>
            </a:r>
            <a:r>
              <a:rPr lang="nl-NL"/>
              <a:t> (1-10)</a:t>
            </a:r>
            <a:endParaRPr lang="nl-NL">
              <a:ea typeface="Verdana"/>
            </a:endParaRPr>
          </a:p>
          <a:p>
            <a:pPr marL="285750" indent="-285750">
              <a:lnSpc>
                <a:spcPct val="150000"/>
              </a:lnSpc>
              <a:buFont typeface="Arial" panose="020B0604020202020204" pitchFamily="34" charset="0"/>
              <a:buChar char="•"/>
            </a:pPr>
            <a:endParaRPr lang="nl-NL"/>
          </a:p>
          <a:p>
            <a:pPr marL="285750" indent="-285750">
              <a:lnSpc>
                <a:spcPct val="150000"/>
              </a:lnSpc>
              <a:buFont typeface="Arial" panose="020B0604020202020204" pitchFamily="34" charset="0"/>
              <a:buChar char="•"/>
            </a:pPr>
            <a:endParaRPr lang="nl-NL"/>
          </a:p>
          <a:p>
            <a:pPr marL="285750" indent="-285750">
              <a:lnSpc>
                <a:spcPct val="150000"/>
              </a:lnSpc>
              <a:buFont typeface="Arial" panose="020B0604020202020204" pitchFamily="34" charset="0"/>
              <a:buChar char="•"/>
            </a:pPr>
            <a:endParaRPr lang="nl-NL"/>
          </a:p>
        </p:txBody>
      </p:sp>
      <p:sp>
        <p:nvSpPr>
          <p:cNvPr id="6" name="Text Placeholder 5">
            <a:extLst>
              <a:ext uri="{FF2B5EF4-FFF2-40B4-BE49-F238E27FC236}">
                <a16:creationId xmlns:a16="http://schemas.microsoft.com/office/drawing/2014/main" id="{A718C4AE-9E56-40CC-9EB7-8C934BF47CD2}"/>
              </a:ext>
            </a:extLst>
          </p:cNvPr>
          <p:cNvSpPr>
            <a:spLocks noGrp="1"/>
          </p:cNvSpPr>
          <p:nvPr>
            <p:ph type="body" sz="quarter" idx="12"/>
          </p:nvPr>
        </p:nvSpPr>
        <p:spPr>
          <a:xfrm>
            <a:off x="7272169" y="396000"/>
            <a:ext cx="4523834" cy="4932000"/>
          </a:xfrm>
        </p:spPr>
        <p:txBody>
          <a:bodyPr/>
          <a:lstStyle/>
          <a:p>
            <a:r>
              <a:rPr lang="nl-NL"/>
              <a:t>Features</a:t>
            </a:r>
          </a:p>
          <a:p>
            <a:endParaRPr lang="nl-NL"/>
          </a:p>
          <a:p>
            <a:pPr marL="342900" indent="-342900">
              <a:buFont typeface="+mj-lt"/>
              <a:buAutoNum type="arabicPeriod"/>
            </a:pPr>
            <a:r>
              <a:rPr lang="nl-NL"/>
              <a:t>Fixed Acidity</a:t>
            </a:r>
          </a:p>
          <a:p>
            <a:pPr marL="342900" indent="-342900">
              <a:buFont typeface="+mj-lt"/>
              <a:buAutoNum type="arabicPeriod"/>
            </a:pPr>
            <a:r>
              <a:rPr lang="nl-NL"/>
              <a:t>Volatile Acidity</a:t>
            </a:r>
          </a:p>
          <a:p>
            <a:pPr marL="342900" indent="-342900">
              <a:buFont typeface="+mj-lt"/>
              <a:buAutoNum type="arabicPeriod"/>
            </a:pPr>
            <a:r>
              <a:rPr lang="nl-NL"/>
              <a:t>Citric Acid</a:t>
            </a:r>
          </a:p>
          <a:p>
            <a:pPr marL="342900" indent="-342900">
              <a:buFont typeface="+mj-lt"/>
              <a:buAutoNum type="arabicPeriod"/>
            </a:pPr>
            <a:r>
              <a:rPr lang="nl-NL"/>
              <a:t>Residual Sugar</a:t>
            </a:r>
          </a:p>
          <a:p>
            <a:pPr marL="342900" indent="-342900">
              <a:buFont typeface="+mj-lt"/>
              <a:buAutoNum type="arabicPeriod"/>
            </a:pPr>
            <a:r>
              <a:rPr lang="nl-NL"/>
              <a:t>Chlorides</a:t>
            </a:r>
          </a:p>
          <a:p>
            <a:pPr marL="342900" indent="-342900">
              <a:buFont typeface="+mj-lt"/>
              <a:buAutoNum type="arabicPeriod"/>
            </a:pPr>
            <a:r>
              <a:rPr lang="nl-NL"/>
              <a:t>Free Sulfur Dioxide</a:t>
            </a:r>
          </a:p>
          <a:p>
            <a:pPr marL="342900" indent="-342900">
              <a:buFont typeface="+mj-lt"/>
              <a:buAutoNum type="arabicPeriod"/>
            </a:pPr>
            <a:r>
              <a:rPr lang="nl-NL"/>
              <a:t>Total Sulfur Dioxide</a:t>
            </a:r>
          </a:p>
          <a:p>
            <a:pPr marL="342900" indent="-342900">
              <a:buFont typeface="+mj-lt"/>
              <a:buAutoNum type="arabicPeriod"/>
            </a:pPr>
            <a:r>
              <a:rPr lang="nl-NL"/>
              <a:t>Density</a:t>
            </a:r>
          </a:p>
          <a:p>
            <a:pPr marL="342900" indent="-342900">
              <a:buFont typeface="+mj-lt"/>
              <a:buAutoNum type="arabicPeriod"/>
            </a:pPr>
            <a:r>
              <a:rPr lang="nl-NL"/>
              <a:t>pH</a:t>
            </a:r>
          </a:p>
          <a:p>
            <a:pPr marL="342900" indent="-342900">
              <a:buFont typeface="+mj-lt"/>
              <a:buAutoNum type="arabicPeriod"/>
            </a:pPr>
            <a:r>
              <a:rPr lang="nl-NL"/>
              <a:t>Sulphates</a:t>
            </a:r>
          </a:p>
          <a:p>
            <a:pPr marL="342900" indent="-342900">
              <a:buFont typeface="+mj-lt"/>
              <a:buAutoNum type="arabicPeriod"/>
            </a:pPr>
            <a:r>
              <a:rPr lang="nl-NL"/>
              <a:t>Alcohol</a:t>
            </a:r>
          </a:p>
        </p:txBody>
      </p:sp>
      <p:sp>
        <p:nvSpPr>
          <p:cNvPr id="8" name="TextBox 7">
            <a:extLst>
              <a:ext uri="{FF2B5EF4-FFF2-40B4-BE49-F238E27FC236}">
                <a16:creationId xmlns:a16="http://schemas.microsoft.com/office/drawing/2014/main" id="{6679F538-7BA3-460E-A66E-5B732A2E6412}"/>
              </a:ext>
            </a:extLst>
          </p:cNvPr>
          <p:cNvSpPr txBox="1"/>
          <p:nvPr/>
        </p:nvSpPr>
        <p:spPr>
          <a:xfrm>
            <a:off x="500718" y="5973760"/>
            <a:ext cx="11295285" cy="261610"/>
          </a:xfrm>
          <a:prstGeom prst="rect">
            <a:avLst/>
          </a:prstGeom>
          <a:noFill/>
        </p:spPr>
        <p:txBody>
          <a:bodyPr wrap="square" rtlCol="0">
            <a:spAutoFit/>
          </a:bodyPr>
          <a:lstStyle/>
          <a:p>
            <a:pPr marL="285750" indent="-285750">
              <a:buFont typeface="Arial" panose="020B0604020202020204" pitchFamily="34" charset="0"/>
              <a:buChar char="•"/>
            </a:pPr>
            <a:r>
              <a:rPr lang="nl-NL" sz="1100">
                <a:solidFill>
                  <a:schemeClr val="accent1">
                    <a:lumMod val="60000"/>
                    <a:lumOff val="40000"/>
                  </a:schemeClr>
                </a:solidFill>
              </a:rPr>
              <a:t>https://www.kaggle.com/uciml/red-wine-quality-cortez-et-al-2009</a:t>
            </a:r>
          </a:p>
        </p:txBody>
      </p:sp>
    </p:spTree>
    <p:extLst>
      <p:ext uri="{BB962C8B-B14F-4D97-AF65-F5344CB8AC3E}">
        <p14:creationId xmlns:p14="http://schemas.microsoft.com/office/powerpoint/2010/main" val="2905405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FA7D1-03CB-4968-98E5-2DCE3EA2AE68}"/>
              </a:ext>
            </a:extLst>
          </p:cNvPr>
          <p:cNvSpPr>
            <a:spLocks noGrp="1"/>
          </p:cNvSpPr>
          <p:nvPr>
            <p:ph type="title"/>
          </p:nvPr>
        </p:nvSpPr>
        <p:spPr/>
        <p:txBody>
          <a:bodyPr/>
          <a:lstStyle/>
          <a:p>
            <a:r>
              <a:rPr lang="nl-NL"/>
              <a:t>Data Grooming</a:t>
            </a:r>
          </a:p>
        </p:txBody>
      </p:sp>
      <p:sp>
        <p:nvSpPr>
          <p:cNvPr id="3" name="Text Placeholder 2">
            <a:extLst>
              <a:ext uri="{FF2B5EF4-FFF2-40B4-BE49-F238E27FC236}">
                <a16:creationId xmlns:a16="http://schemas.microsoft.com/office/drawing/2014/main" id="{0DE4EA46-11FF-47B3-B696-AE77B09D0B93}"/>
              </a:ext>
            </a:extLst>
          </p:cNvPr>
          <p:cNvSpPr>
            <a:spLocks noGrp="1"/>
          </p:cNvSpPr>
          <p:nvPr>
            <p:ph type="body" sz="quarter" idx="11"/>
          </p:nvPr>
        </p:nvSpPr>
        <p:spPr/>
        <p:txBody>
          <a:bodyPr/>
          <a:lstStyle/>
          <a:p>
            <a:pPr marL="285750" indent="-285750">
              <a:lnSpc>
                <a:spcPct val="150000"/>
              </a:lnSpc>
              <a:buFont typeface="Arial" panose="020B0604020202020204" pitchFamily="34" charset="0"/>
              <a:buChar char="•"/>
            </a:pPr>
            <a:r>
              <a:rPr lang="nl-NL"/>
              <a:t>Converted Quality to a binary feature</a:t>
            </a:r>
          </a:p>
          <a:p>
            <a:pPr marL="638175" lvl="1" indent="-285750">
              <a:lnSpc>
                <a:spcPct val="150000"/>
              </a:lnSpc>
              <a:buFont typeface="Arial" panose="020B0604020202020204" pitchFamily="34" charset="0"/>
              <a:buChar char="•"/>
            </a:pPr>
            <a:r>
              <a:rPr lang="nl-NL"/>
              <a:t>0-5 -&gt; 0 (Bad)</a:t>
            </a:r>
          </a:p>
          <a:p>
            <a:pPr marL="638175" lvl="1" indent="-285750">
              <a:lnSpc>
                <a:spcPct val="150000"/>
              </a:lnSpc>
              <a:buFont typeface="Arial" panose="020B0604020202020204" pitchFamily="34" charset="0"/>
              <a:buChar char="•"/>
            </a:pPr>
            <a:r>
              <a:rPr lang="nl-NL"/>
              <a:t>6-10 -&gt; 1 (Good)</a:t>
            </a:r>
          </a:p>
          <a:p>
            <a:pPr marL="285750" indent="-285750">
              <a:lnSpc>
                <a:spcPct val="150000"/>
              </a:lnSpc>
              <a:buFont typeface="Arial" panose="020B0604020202020204" pitchFamily="34" charset="0"/>
              <a:buChar char="•"/>
            </a:pPr>
            <a:r>
              <a:rPr lang="nl-NL"/>
              <a:t>Removed incomplete samples</a:t>
            </a:r>
          </a:p>
          <a:p>
            <a:pPr marL="638175" lvl="1" indent="-285750">
              <a:lnSpc>
                <a:spcPct val="150000"/>
              </a:lnSpc>
              <a:buFont typeface="Arial" panose="020B0604020202020204" pitchFamily="34" charset="0"/>
              <a:buChar char="•"/>
            </a:pPr>
            <a:r>
              <a:rPr lang="nl-NL"/>
              <a:t>Final dataset, approx. 1600 samples.</a:t>
            </a:r>
          </a:p>
          <a:p>
            <a:pPr lvl="1" indent="0">
              <a:lnSpc>
                <a:spcPct val="150000"/>
              </a:lnSpc>
              <a:buNone/>
            </a:pPr>
            <a:endParaRPr lang="nl-NL"/>
          </a:p>
          <a:p>
            <a:pPr marL="285750" indent="-285750">
              <a:lnSpc>
                <a:spcPct val="150000"/>
              </a:lnSpc>
              <a:buFont typeface="Arial" panose="020B0604020202020204" pitchFamily="34" charset="0"/>
              <a:buChar char="•"/>
            </a:pPr>
            <a:r>
              <a:rPr lang="nl-NL"/>
              <a:t>Data Split</a:t>
            </a:r>
          </a:p>
          <a:p>
            <a:pPr marL="638175" lvl="1" indent="-285750">
              <a:lnSpc>
                <a:spcPct val="150000"/>
              </a:lnSpc>
              <a:buFont typeface="Arial" panose="020B0604020202020204" pitchFamily="34" charset="0"/>
              <a:buChar char="•"/>
            </a:pPr>
            <a:r>
              <a:rPr lang="nl-NL"/>
              <a:t>Train/Test – 70/30</a:t>
            </a:r>
          </a:p>
          <a:p>
            <a:pPr marL="285750" indent="-285750">
              <a:lnSpc>
                <a:spcPct val="150000"/>
              </a:lnSpc>
              <a:buFont typeface="Arial" panose="020B0604020202020204" pitchFamily="34" charset="0"/>
              <a:buChar char="•"/>
            </a:pPr>
            <a:endParaRPr lang="nl-NL"/>
          </a:p>
          <a:p>
            <a:pPr marL="285750" indent="-285750">
              <a:buFont typeface="Arial" panose="020B0604020202020204" pitchFamily="34" charset="0"/>
              <a:buChar char="•"/>
            </a:pPr>
            <a:endParaRPr lang="nl-NL"/>
          </a:p>
          <a:p>
            <a:pPr marL="285750" indent="-285750">
              <a:buFont typeface="Arial" panose="020B0604020202020204" pitchFamily="34" charset="0"/>
              <a:buChar char="•"/>
            </a:pPr>
            <a:endParaRPr lang="nl-NL"/>
          </a:p>
          <a:p>
            <a:pPr marL="285750" indent="-285750">
              <a:buFont typeface="Arial" panose="020B0604020202020204" pitchFamily="34" charset="0"/>
              <a:buChar char="•"/>
            </a:pPr>
            <a:endParaRPr lang="nl-NL"/>
          </a:p>
          <a:p>
            <a:pPr lvl="1" indent="0">
              <a:lnSpc>
                <a:spcPct val="150000"/>
              </a:lnSpc>
              <a:buNone/>
            </a:pPr>
            <a:endParaRPr lang="nl-NL"/>
          </a:p>
        </p:txBody>
      </p:sp>
    </p:spTree>
    <p:extLst>
      <p:ext uri="{BB962C8B-B14F-4D97-AF65-F5344CB8AC3E}">
        <p14:creationId xmlns:p14="http://schemas.microsoft.com/office/powerpoint/2010/main" val="132896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307AD-D91E-4CD3-9EC2-A24222C6E1D2}"/>
              </a:ext>
            </a:extLst>
          </p:cNvPr>
          <p:cNvSpPr>
            <a:spLocks noGrp="1"/>
          </p:cNvSpPr>
          <p:nvPr>
            <p:ph type="title"/>
          </p:nvPr>
        </p:nvSpPr>
        <p:spPr/>
        <p:txBody>
          <a:bodyPr/>
          <a:lstStyle/>
          <a:p>
            <a:r>
              <a:rPr lang="nl-NL"/>
              <a:t>Further Work</a:t>
            </a:r>
          </a:p>
        </p:txBody>
      </p:sp>
      <p:sp>
        <p:nvSpPr>
          <p:cNvPr id="3" name="Text Placeholder 2">
            <a:extLst>
              <a:ext uri="{FF2B5EF4-FFF2-40B4-BE49-F238E27FC236}">
                <a16:creationId xmlns:a16="http://schemas.microsoft.com/office/drawing/2014/main" id="{3A70D8EF-236D-4D87-8159-95B8E1D76481}"/>
              </a:ext>
            </a:extLst>
          </p:cNvPr>
          <p:cNvSpPr>
            <a:spLocks noGrp="1"/>
          </p:cNvSpPr>
          <p:nvPr>
            <p:ph type="body" sz="quarter" idx="11"/>
          </p:nvPr>
        </p:nvSpPr>
        <p:spPr>
          <a:xfrm>
            <a:off x="395288" y="1440000"/>
            <a:ext cx="5400000" cy="4177938"/>
          </a:xfrm>
        </p:spPr>
        <p:txBody>
          <a:bodyPr vert="horz" lIns="0" tIns="0" rIns="0" bIns="0" rtlCol="0" anchor="t">
            <a:noAutofit/>
          </a:bodyPr>
          <a:lstStyle/>
          <a:p>
            <a:pPr marL="285750" indent="-285750">
              <a:buFont typeface="Arial" panose="020B0604020202020204" pitchFamily="34" charset="0"/>
              <a:buChar char="•"/>
            </a:pPr>
            <a:r>
              <a:rPr lang="nl-NL"/>
              <a:t>Image </a:t>
            </a:r>
            <a:r>
              <a:rPr lang="nl-NL" err="1"/>
              <a:t>classifier</a:t>
            </a:r>
            <a:endParaRPr lang="nl-NL" err="1">
              <a:ea typeface="Verdana"/>
            </a:endParaRPr>
          </a:p>
          <a:p>
            <a:pPr lvl="1">
              <a:buFont typeface="Arial" panose="020B0604020202020204" pitchFamily="34" charset="0"/>
              <a:buChar char="•"/>
            </a:pPr>
            <a:r>
              <a:rPr lang="nl-NL" err="1">
                <a:ea typeface="Verdana"/>
              </a:rPr>
              <a:t>Wafer</a:t>
            </a:r>
            <a:r>
              <a:rPr lang="nl-NL">
                <a:ea typeface="Verdana"/>
              </a:rPr>
              <a:t> Defect Detector</a:t>
            </a:r>
          </a:p>
          <a:p>
            <a:pPr lvl="1">
              <a:buClr>
                <a:srgbClr val="0070AD"/>
              </a:buClr>
              <a:buChar char="•"/>
            </a:pPr>
            <a:r>
              <a:rPr lang="nl-NL" err="1">
                <a:ea typeface="Verdana"/>
              </a:rPr>
              <a:t>Current</a:t>
            </a:r>
            <a:r>
              <a:rPr lang="nl-NL">
                <a:ea typeface="Verdana"/>
              </a:rPr>
              <a:t> status</a:t>
            </a:r>
          </a:p>
          <a:p>
            <a:pPr lvl="2" indent="-175895">
              <a:buFont typeface="Wingdings" panose="05000000000000000000" pitchFamily="2" charset="2"/>
              <a:buChar char="•"/>
            </a:pPr>
            <a:r>
              <a:rPr lang="nl-NL">
                <a:ea typeface="Verdana"/>
              </a:rPr>
              <a:t>68%-70% </a:t>
            </a:r>
            <a:r>
              <a:rPr lang="nl-NL" err="1">
                <a:ea typeface="Verdana"/>
              </a:rPr>
              <a:t>prediction</a:t>
            </a:r>
            <a:r>
              <a:rPr lang="nl-NL">
                <a:ea typeface="Verdana"/>
              </a:rPr>
              <a:t> </a:t>
            </a:r>
            <a:r>
              <a:rPr lang="nl-NL" err="1">
                <a:ea typeface="Verdana"/>
              </a:rPr>
              <a:t>accuracy</a:t>
            </a:r>
            <a:endParaRPr lang="nl-NL">
              <a:ea typeface="Verdana"/>
            </a:endParaRPr>
          </a:p>
          <a:p>
            <a:pPr lvl="2" indent="-175895">
              <a:buClr>
                <a:srgbClr val="FF304C"/>
              </a:buClr>
            </a:pPr>
            <a:endParaRPr lang="nl-NL">
              <a:ea typeface="Verdana"/>
            </a:endParaRPr>
          </a:p>
          <a:p>
            <a:pPr indent="-285750">
              <a:buChar char="•"/>
            </a:pPr>
            <a:r>
              <a:rPr lang="nl-NL">
                <a:ea typeface="Verdana"/>
              </a:rPr>
              <a:t>Software Defect Dataset</a:t>
            </a:r>
          </a:p>
          <a:p>
            <a:pPr lvl="1">
              <a:buFont typeface="Arial" panose="020B0604020202020204" pitchFamily="34" charset="0"/>
              <a:buChar char="•"/>
            </a:pPr>
            <a:r>
              <a:rPr lang="nl-NL" err="1">
                <a:ea typeface="Verdana"/>
              </a:rPr>
              <a:t>Extend</a:t>
            </a:r>
            <a:r>
              <a:rPr lang="nl-NL">
                <a:ea typeface="Verdana"/>
              </a:rPr>
              <a:t> </a:t>
            </a:r>
            <a:r>
              <a:rPr lang="nl-NL" err="1">
                <a:ea typeface="Verdana"/>
              </a:rPr>
              <a:t>Logistic</a:t>
            </a:r>
            <a:r>
              <a:rPr lang="nl-NL">
                <a:ea typeface="Verdana"/>
              </a:rPr>
              <a:t> </a:t>
            </a:r>
            <a:r>
              <a:rPr lang="nl-NL" err="1">
                <a:ea typeface="Verdana"/>
              </a:rPr>
              <a:t>Regression</a:t>
            </a:r>
            <a:r>
              <a:rPr lang="nl-NL">
                <a:ea typeface="Verdana"/>
              </a:rPr>
              <a:t> model</a:t>
            </a:r>
          </a:p>
          <a:p>
            <a:pPr lvl="1">
              <a:buClr>
                <a:srgbClr val="0070AD"/>
              </a:buClr>
              <a:buFont typeface="&quot;Wingdings&quot;,Sans-Serif" panose="020B0604020202020204" pitchFamily="34" charset="0"/>
              <a:buChar char="•"/>
            </a:pPr>
            <a:r>
              <a:rPr lang="nl-NL" err="1">
                <a:ea typeface="Verdana"/>
              </a:rPr>
              <a:t>Current</a:t>
            </a:r>
            <a:r>
              <a:rPr lang="nl-NL">
                <a:ea typeface="Verdana"/>
              </a:rPr>
              <a:t> status</a:t>
            </a:r>
            <a:endParaRPr lang="nl-NL">
              <a:ea typeface="+mn-lt"/>
              <a:cs typeface="+mn-lt"/>
            </a:endParaRPr>
          </a:p>
          <a:p>
            <a:pPr lvl="2" indent="-175895">
              <a:buClr>
                <a:srgbClr val="FF304C"/>
              </a:buClr>
              <a:buFont typeface="&quot;Wingdings&quot;,Sans-Serif" panose="020B0604020202020204" pitchFamily="34" charset="0"/>
              <a:buChar char="•"/>
            </a:pPr>
            <a:r>
              <a:rPr lang="nl-NL" err="1">
                <a:ea typeface="Verdana"/>
              </a:rPr>
              <a:t>Neural</a:t>
            </a:r>
            <a:r>
              <a:rPr lang="nl-NL">
                <a:ea typeface="Verdana"/>
              </a:rPr>
              <a:t> Network Architecture </a:t>
            </a:r>
            <a:r>
              <a:rPr lang="nl-NL" err="1">
                <a:ea typeface="Verdana"/>
              </a:rPr>
              <a:t>Preperation</a:t>
            </a:r>
            <a:endParaRPr lang="nl-NL">
              <a:ea typeface="Verdana"/>
            </a:endParaRPr>
          </a:p>
          <a:p>
            <a:pPr lvl="2" indent="-175895">
              <a:buClr>
                <a:srgbClr val="FF304C"/>
              </a:buClr>
              <a:buFont typeface="&quot;Wingdings&quot;,Sans-Serif" panose="020B0604020202020204" pitchFamily="34" charset="0"/>
              <a:buChar char="•"/>
            </a:pPr>
            <a:endParaRPr lang="nl-NL">
              <a:ea typeface="Verdana"/>
            </a:endParaRPr>
          </a:p>
          <a:p>
            <a:pPr indent="-285750">
              <a:buClr>
                <a:srgbClr val="12ABDB"/>
              </a:buClr>
              <a:buFont typeface="&quot;Wingdings&quot;,Sans-Serif" panose="020B0604020202020204" pitchFamily="34" charset="0"/>
              <a:buChar char="•"/>
            </a:pPr>
            <a:r>
              <a:rPr lang="nl-NL" err="1">
                <a:ea typeface="Verdana"/>
              </a:rPr>
              <a:t>Classifier</a:t>
            </a:r>
            <a:r>
              <a:rPr lang="nl-NL">
                <a:ea typeface="Verdana"/>
              </a:rPr>
              <a:t> on Mobile App</a:t>
            </a:r>
          </a:p>
          <a:p>
            <a:pPr lvl="1">
              <a:buFont typeface="&quot;Wingdings&quot;,Sans-Serif" panose="020B0604020202020204" pitchFamily="34" charset="0"/>
              <a:buChar char="•"/>
            </a:pPr>
            <a:r>
              <a:rPr lang="nl-NL">
                <a:ea typeface="Verdana"/>
              </a:rPr>
              <a:t>User takes picture, defect </a:t>
            </a:r>
            <a:r>
              <a:rPr lang="nl-NL" err="1">
                <a:ea typeface="Verdana"/>
              </a:rPr>
              <a:t>detecte</a:t>
            </a:r>
          </a:p>
          <a:p>
            <a:pPr lvl="1">
              <a:buClr>
                <a:srgbClr val="0070AD"/>
              </a:buClr>
              <a:buFont typeface="&quot;Wingdings&quot;,Sans-Serif" panose="020B0604020202020204" pitchFamily="34" charset="0"/>
              <a:buChar char="•"/>
            </a:pPr>
            <a:r>
              <a:rPr lang="nl-NL" err="1">
                <a:ea typeface="Verdana"/>
              </a:rPr>
              <a:t>Current</a:t>
            </a:r>
            <a:r>
              <a:rPr lang="nl-NL">
                <a:ea typeface="Verdana"/>
              </a:rPr>
              <a:t> status</a:t>
            </a:r>
          </a:p>
          <a:p>
            <a:pPr lvl="2" indent="-175895">
              <a:buFont typeface="&quot;Wingdings&quot;,Sans-Serif" panose="020B0604020202020204" pitchFamily="34" charset="0"/>
              <a:buChar char="•"/>
            </a:pPr>
            <a:r>
              <a:rPr lang="nl-NL">
                <a:ea typeface="Verdana"/>
              </a:rPr>
              <a:t>TBD</a:t>
            </a:r>
          </a:p>
          <a:p>
            <a:pPr lvl="2" indent="-175895">
              <a:buClr>
                <a:srgbClr val="FF304C"/>
              </a:buClr>
              <a:buFont typeface="&quot;Wingdings&quot;,Sans-Serif" panose="020B0604020202020204" pitchFamily="34" charset="0"/>
              <a:buChar char="•"/>
            </a:pPr>
            <a:r>
              <a:rPr lang="nl-NL">
                <a:ea typeface="+mn-lt"/>
                <a:cs typeface="+mn-lt"/>
                <a:hlinkClick r:id="rId2"/>
              </a:rPr>
              <a:t>https://www.tensorflow.org/lite/examples/image_classification/overview</a:t>
            </a:r>
            <a:endParaRPr lang="nl-NL">
              <a:ea typeface="Verdana"/>
            </a:endParaRPr>
          </a:p>
          <a:p>
            <a:pPr lvl="2" indent="-175895">
              <a:buClr>
                <a:srgbClr val="FF304C"/>
              </a:buClr>
              <a:buFont typeface="&quot;Wingdings&quot;,Sans-Serif" panose="020B0604020202020204" pitchFamily="34" charset="0"/>
              <a:buChar char="•"/>
            </a:pPr>
            <a:endParaRPr lang="nl-NL">
              <a:ea typeface="Verdana"/>
            </a:endParaRPr>
          </a:p>
          <a:p>
            <a:pPr indent="-285750">
              <a:buClr>
                <a:srgbClr val="12ABDB"/>
              </a:buClr>
              <a:buFont typeface="&quot;Wingdings&quot;,Sans-Serif" panose="020B0604020202020204" pitchFamily="34" charset="0"/>
              <a:buChar char="•"/>
            </a:pPr>
            <a:endParaRPr lang="nl-NL">
              <a:ea typeface="Verdana"/>
            </a:endParaRPr>
          </a:p>
          <a:p>
            <a:pPr indent="-285750">
              <a:buFont typeface="Arial" panose="020B0604020202020204" pitchFamily="34" charset="0"/>
              <a:buChar char="•"/>
            </a:pPr>
            <a:endParaRPr lang="nl-NL">
              <a:ea typeface="Verdana"/>
            </a:endParaRPr>
          </a:p>
          <a:p>
            <a:pPr marL="285750" indent="-285750">
              <a:buFont typeface="Arial" panose="020B0604020202020204" pitchFamily="34" charset="0"/>
              <a:buChar char="•"/>
            </a:pPr>
            <a:endParaRPr lang="nl-NL">
              <a:ea typeface="Verdana"/>
            </a:endParaRPr>
          </a:p>
          <a:p>
            <a:pPr marL="285750" indent="-285750">
              <a:buFont typeface="Arial" panose="020B0604020202020204" pitchFamily="34" charset="0"/>
              <a:buChar char="•"/>
            </a:pPr>
            <a:endParaRPr lang="nl-NL">
              <a:ea typeface="Verdana"/>
            </a:endParaRPr>
          </a:p>
        </p:txBody>
      </p:sp>
      <p:pic>
        <p:nvPicPr>
          <p:cNvPr id="5" name="Picture 5" descr="Chart, histogram&#10;&#10;Description automatically generated">
            <a:extLst>
              <a:ext uri="{FF2B5EF4-FFF2-40B4-BE49-F238E27FC236}">
                <a16:creationId xmlns:a16="http://schemas.microsoft.com/office/drawing/2014/main" id="{8F1DD130-5789-4653-82B4-60C4C283C95D}"/>
              </a:ext>
            </a:extLst>
          </p:cNvPr>
          <p:cNvPicPr>
            <a:picLocks noChangeAspect="1"/>
          </p:cNvPicPr>
          <p:nvPr/>
        </p:nvPicPr>
        <p:blipFill>
          <a:blip r:embed="rId3"/>
          <a:stretch>
            <a:fillRect/>
          </a:stretch>
        </p:blipFill>
        <p:spPr>
          <a:xfrm>
            <a:off x="6224588" y="1017006"/>
            <a:ext cx="2528888" cy="2196675"/>
          </a:xfrm>
          <a:prstGeom prst="rect">
            <a:avLst/>
          </a:prstGeom>
        </p:spPr>
      </p:pic>
      <p:pic>
        <p:nvPicPr>
          <p:cNvPr id="6" name="Picture 6" descr="Graphical user interface, application&#10;&#10;Description automatically generated">
            <a:extLst>
              <a:ext uri="{FF2B5EF4-FFF2-40B4-BE49-F238E27FC236}">
                <a16:creationId xmlns:a16="http://schemas.microsoft.com/office/drawing/2014/main" id="{D59B3DD1-14E9-42BE-93A3-C80787ECF75A}"/>
              </a:ext>
            </a:extLst>
          </p:cNvPr>
          <p:cNvPicPr>
            <a:picLocks noChangeAspect="1"/>
          </p:cNvPicPr>
          <p:nvPr/>
        </p:nvPicPr>
        <p:blipFill>
          <a:blip r:embed="rId4"/>
          <a:stretch>
            <a:fillRect/>
          </a:stretch>
        </p:blipFill>
        <p:spPr>
          <a:xfrm>
            <a:off x="6192838" y="4252912"/>
            <a:ext cx="2743200" cy="1828800"/>
          </a:xfrm>
          <a:prstGeom prst="rect">
            <a:avLst/>
          </a:prstGeom>
        </p:spPr>
      </p:pic>
      <p:pic>
        <p:nvPicPr>
          <p:cNvPr id="7" name="Picture 7" descr="Logo&#10;&#10;Description automatically generated">
            <a:extLst>
              <a:ext uri="{FF2B5EF4-FFF2-40B4-BE49-F238E27FC236}">
                <a16:creationId xmlns:a16="http://schemas.microsoft.com/office/drawing/2014/main" id="{55D61CA7-55A4-4851-BE40-83EA9DEB459D}"/>
              </a:ext>
            </a:extLst>
          </p:cNvPr>
          <p:cNvPicPr>
            <a:picLocks noChangeAspect="1"/>
          </p:cNvPicPr>
          <p:nvPr/>
        </p:nvPicPr>
        <p:blipFill>
          <a:blip r:embed="rId5"/>
          <a:stretch>
            <a:fillRect/>
          </a:stretch>
        </p:blipFill>
        <p:spPr>
          <a:xfrm>
            <a:off x="8994775" y="4371975"/>
            <a:ext cx="2743200" cy="1543050"/>
          </a:xfrm>
          <a:prstGeom prst="rect">
            <a:avLst/>
          </a:prstGeom>
        </p:spPr>
      </p:pic>
      <p:pic>
        <p:nvPicPr>
          <p:cNvPr id="8" name="Picture 8" descr="Chart, line chart, histogram&#10;&#10;Description automatically generated">
            <a:extLst>
              <a:ext uri="{FF2B5EF4-FFF2-40B4-BE49-F238E27FC236}">
                <a16:creationId xmlns:a16="http://schemas.microsoft.com/office/drawing/2014/main" id="{2A2F55E2-CE21-4A4E-A19D-A5CE92193F57}"/>
              </a:ext>
            </a:extLst>
          </p:cNvPr>
          <p:cNvPicPr>
            <a:picLocks noChangeAspect="1"/>
          </p:cNvPicPr>
          <p:nvPr/>
        </p:nvPicPr>
        <p:blipFill>
          <a:blip r:embed="rId6"/>
          <a:stretch>
            <a:fillRect/>
          </a:stretch>
        </p:blipFill>
        <p:spPr>
          <a:xfrm>
            <a:off x="8939212" y="1306705"/>
            <a:ext cx="2854325" cy="1887151"/>
          </a:xfrm>
          <a:prstGeom prst="rect">
            <a:avLst/>
          </a:prstGeom>
        </p:spPr>
      </p:pic>
    </p:spTree>
    <p:extLst>
      <p:ext uri="{BB962C8B-B14F-4D97-AF65-F5344CB8AC3E}">
        <p14:creationId xmlns:p14="http://schemas.microsoft.com/office/powerpoint/2010/main" val="2728769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F5F6ADEF-7253-4895-A17B-8F21273B61E5}"/>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AC71A3FD-7506-4034-8A15-9C633F24C2D9}"/>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8B3078F0-20F3-403D-94D3-AF08874090C8}"/>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595BA45-15D7-47DB-832D-E0C8B02F2209}" vid="{60DC60DA-DEC1-4579-B08D-491E47015373}"/>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9726D8E2B8F047884450CACE609C5C" ma:contentTypeVersion="5" ma:contentTypeDescription="Create a new document." ma:contentTypeScope="" ma:versionID="d4ace4dac3c1d258e207e8a054a25538">
  <xsd:schema xmlns:xsd="http://www.w3.org/2001/XMLSchema" xmlns:xs="http://www.w3.org/2001/XMLSchema" xmlns:p="http://schemas.microsoft.com/office/2006/metadata/properties" xmlns:ns3="b0913172-8b61-4ce2-8335-b5411d28cb84" xmlns:ns4="038f48aa-026e-4324-a241-b35bdc28e99d" targetNamespace="http://schemas.microsoft.com/office/2006/metadata/properties" ma:root="true" ma:fieldsID="5ae5c5876c2e97b5bcedb516ddb6b7ee" ns3:_="" ns4:_="">
    <xsd:import namespace="b0913172-8b61-4ce2-8335-b5411d28cb84"/>
    <xsd:import namespace="038f48aa-026e-4324-a241-b35bdc28e9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13172-8b61-4ce2-8335-b5411d28cb8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8f48aa-026e-4324-a241-b35bdc28e9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3CC7EE-68F2-44AD-A7BC-31A37DEBC76C}">
  <ds:schemaRefs>
    <ds:schemaRef ds:uri="038f48aa-026e-4324-a241-b35bdc28e99d"/>
    <ds:schemaRef ds:uri="b0913172-8b61-4ce2-8335-b5411d28cb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F37899D-A32A-4B74-AF0C-223FE4CF1E3E}">
  <ds:schemaRefs>
    <ds:schemaRef ds:uri="038f48aa-026e-4324-a241-b35bdc28e99d"/>
    <ds:schemaRef ds:uri="b0913172-8b61-4ce2-8335-b5411d28cb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D805D11-91E0-499C-A73A-CA21676CF8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 Sogeti</Template>
  <Application>Microsoft Office PowerPoint</Application>
  <PresentationFormat>Widescreen</PresentationFormat>
  <Slides>6</Slides>
  <Notes>2</Notes>
  <HiddenSlides>0</HiddenSlides>
  <ScaleCrop>false</ScaleCrop>
  <HeadingPairs>
    <vt:vector size="4" baseType="variant">
      <vt:variant>
        <vt:lpstr>Theme</vt:lpstr>
      </vt:variant>
      <vt:variant>
        <vt:i4>4</vt:i4>
      </vt:variant>
      <vt:variant>
        <vt:lpstr>Slide Titles</vt:lpstr>
      </vt:variant>
      <vt:variant>
        <vt:i4>6</vt:i4>
      </vt:variant>
    </vt:vector>
  </HeadingPairs>
  <TitlesOfParts>
    <vt:vector size="10" baseType="lpstr">
      <vt:lpstr>Sogeti Master</vt:lpstr>
      <vt:lpstr>Cover options</vt:lpstr>
      <vt:lpstr>Section Opener options</vt:lpstr>
      <vt:lpstr>Closing options</vt:lpstr>
      <vt:lpstr>Defect Predictor</vt:lpstr>
      <vt:lpstr>Problem Statement and Planning</vt:lpstr>
      <vt:lpstr>Ideas</vt:lpstr>
      <vt:lpstr>Dataset Selection </vt:lpstr>
      <vt:lpstr>Data Grooming</vt:lpstr>
      <vt:lpstr>Further Wor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shikanti, Rohan</dc:creator>
  <cp:revision>1</cp:revision>
  <dcterms:created xsi:type="dcterms:W3CDTF">2021-10-18T14:20:09Z</dcterms:created>
  <dcterms:modified xsi:type="dcterms:W3CDTF">2021-10-22T12:4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9726D8E2B8F047884450CACE609C5C</vt:lpwstr>
  </property>
</Properties>
</file>